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www.infraware.co.kr/2012/infrawarePen" Target="docProps/infrawarePe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278" r:id="rId2"/>
    <p:sldId id="285" r:id="rId3"/>
    <p:sldId id="295" r:id="rId4"/>
    <p:sldId id="296" r:id="rId5"/>
    <p:sldId id="297" r:id="rId6"/>
    <p:sldId id="298" r:id="rId7"/>
    <p:sldId id="280" r:id="rId8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6" userDrawn="1">
          <p15:clr>
            <a:srgbClr val="A4A3A4"/>
          </p15:clr>
        </p15:guide>
        <p15:guide id="2" pos="2265" userDrawn="1">
          <p15:clr>
            <a:srgbClr val="A4A3A4"/>
          </p15:clr>
        </p15:guide>
        <p15:guide id="3" orient="horz" pos="2932" userDrawn="1">
          <p15:clr>
            <a:srgbClr val="A4A3A4"/>
          </p15:clr>
        </p15:guide>
        <p15:guide id="4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47" autoAdjust="0"/>
    <p:restoredTop sz="93155" autoAdjust="0"/>
  </p:normalViewPr>
  <p:slideViewPr>
    <p:cSldViewPr>
      <p:cViewPr varScale="1">
        <p:scale>
          <a:sx n="94" d="100"/>
          <a:sy n="94" d="100"/>
        </p:scale>
        <p:origin x="1330" y="7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6"/>
        <p:guide pos="2265"/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2376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6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7189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7" y="0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71" tIns="47534" rIns="95071" bIns="4753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8"/>
            <a:ext cx="5618480" cy="4189095"/>
          </a:xfrm>
          <a:prstGeom prst="rect">
            <a:avLst/>
          </a:prstGeom>
        </p:spPr>
        <p:txBody>
          <a:bodyPr vert="horz" lIns="95071" tIns="47534" rIns="95071" bIns="4753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034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7" y="8842034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0635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 smtClean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5/14/2018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5/14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chapter nam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187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 smtClean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5/14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64" r:id="rId2"/>
    <p:sldLayoutId id="2147483662" r:id="rId3"/>
    <p:sldLayoutId id="2147483663" r:id="rId4"/>
    <p:sldLayoutId id="2147483673" r:id="rId5"/>
    <p:sldLayoutId id="2147483677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3886200"/>
            <a:ext cx="7391400" cy="466344"/>
          </a:xfrm>
        </p:spPr>
        <p:txBody>
          <a:bodyPr/>
          <a:lstStyle/>
          <a:p>
            <a:r>
              <a:rPr lang="en-US" sz="2400" dirty="0" smtClean="0"/>
              <a:t>General Manager’s Remarks</a:t>
            </a: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19200" y="5257800"/>
            <a:ext cx="3352800" cy="762000"/>
          </a:xfrm>
        </p:spPr>
        <p:txBody>
          <a:bodyPr/>
          <a:lstStyle/>
          <a:p>
            <a:r>
              <a:rPr lang="en-US" sz="2000" dirty="0" smtClean="0"/>
              <a:t>May 14, 2018</a:t>
            </a:r>
            <a:endParaRPr lang="en-US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19200" y="4528458"/>
            <a:ext cx="7315200" cy="457200"/>
          </a:xfrm>
        </p:spPr>
        <p:txBody>
          <a:bodyPr/>
          <a:lstStyle/>
          <a:p>
            <a:r>
              <a:rPr lang="en-US" sz="2000" dirty="0" smtClean="0"/>
              <a:t>Joint Meeting of the MassDOT Board of Directors and Fiscal and Management Control Board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79922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Agenda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4" y="1752600"/>
            <a:ext cx="8348472" cy="443849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Capital investment overview</a:t>
            </a:r>
          </a:p>
        </p:txBody>
      </p:sp>
    </p:spTree>
    <p:extLst>
      <p:ext uri="{BB962C8B-B14F-4D97-AF65-F5344CB8AC3E}">
        <p14:creationId xmlns:p14="http://schemas.microsoft.com/office/powerpoint/2010/main" val="1052630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IDw8QZnT3KVLgIkmA4yGe3IRofc58oivK/ctSK/A/HA845yfDizhbLaIFtK8KhsvJ6XFphTkcfv72XyRvk3InYdwrOZF2GHYGLv27NfNmu4Jquw7SRkfzEy6SRwJjBdpBYIMSubuWIdy/Gz56j8FmLVUthaeMum3CtkHGlEBYvUYB+kP7ozNNzwC3aA/ps6yIeTRTxFnkwJbux5M0HvfnLO4dQpvi/yoDDSRHCrdjE8CHOP1upF0EMe9DcguW96o3Mm+qGyxqv78uF09oXUJmCwOAF2WxJ6hsENDGMPqsGJCpHcaA0pdd4OTZNLLwcS14lRSH0GCN5mwUQDtz3Q22UtNTO84NtQsLwjAnyf4Vw2YNykCYH6dGYoxnttg8TazVkYc6p1jTjoshFHD0pqHsLnQJ++wUpcPibPI3s53DIgtzaR4HTEUjBYHTyX/vw0Fjq6rw2PcblKc2LM6qPq1+TbkAGZqRc14+Lz09mn1l8gF206yMYp3xzYQJ5nPfHzOGGa0kmi9V0+k6QeiJZdNyKp7CENxWXiveSGDiNJPODxtqiMOQst516NnTKTFc+ALszRi5HciN29e/MA/JdAKajm0j2+8e79fHigElDnPfDR5XgCSsWyKlf6YgcHUUyC/crvTKGSzJ5QPlRvhIl4O/Brnmhy4bXGW5JGJbtXxmZ3Ym4QTlIIrgBWYGrmxg+a/GBWkxlbOI9p2tU+5S+Dq5jCF9k+Yr/WPCI/qfhgS8pBqfHYEoXiLejAhXeP1n47QQgtRKYxDI47BITh4SeCD6zP4SzkwRfIlV99e1v05EcqlUStm1ikFCiWeEzwsZmdVNbGFJ5vkGOYNaI6PF9CXszDCpYHFRyrBo/kr4g5SA9W3qe0eKF1tGV8n2SjQVoAPXznadS1xAF5qovCES/nNbqZxWtqkUgfWbwDvKP2ScObtZnF1dihIx3JhKtfUT82vFqlCwuLpXPP41hgnRPv0SKvgFlEU6NYhUJ9OL/kMJvwol6AgPGnB5KIo0iU7WFww9AHE7rduMY7Zhac5hSsz1mLDRFxgOutFF8fi8tJ7ZdIVcTZ5auFQsXJLTF8ZGepF+1+ChTGdbcdW/XkYaWdmDdDxaB5liH5mCkulcGYkemhe/c6NDLLW828ZrbXKJQWU/fD6lzkKeDupAmvSCyGptFCLK8BZmDHh0NiUZVm1DPQRRnI3GVbubcPpwJyuhutZdGr4r4gD7EG6+e3T1axMB6y+8b1IOo9j5A69946yIl3ObJJ4gB8ebuB+NsjJeroeTRmACKolywsqNp+ARiCiTBM848ysDgqLbcozr/CvAdfReqc1YjH1Dg/CfIJLFrLSpdm5Ty+z1nqrqknIPSda160IEQqWu20oOXbQXUcgF9EDaN/3bTk3TPEZDpC4PKSTVYJPsp3cKpb+PNR8W/CJoZ9JrFx9Xn3EzEp/UOZ/3A6fzx2HIUZLvrIs5gHDLdA/2yct7n9PVKxhtGDdTUylztmpHREiz7ivgWWz95ENEZr/3tuiOkXgcAHoyA+Be9Vvw+3AAObHl0qdpOzxeogN5ZhyHMKk1W4I/qy0iKzCVU0XRaW8dN1PPkpLv6t0mSAoGPCv+WNsYqCjHLQ/qZKQ67wTQtGIVl7G/z6T124VKtTAlIfH5SkEngcBYh5iPC7JZIMdaR2YgvnQo9/s2t92nfYasmyiyZFOMwhgRuZSd+koOInLTiYdmRssqaxmQnX2Pj6AJXlaXlQd9uv4RYIyeHm5LE1sWlSOHJ475PCEuoPA/G0g6XQcKi+zbFeF7bL24MklmxdFsCyedPJZxki2trma+fatK3IE7ipdGoycVjutwQ3VYExDjSVBfh+0Qk6YeCQEOar3UVFZQDRfgOLzeS3D6gkrQjtz6lUh/HfrVFJT0u1qnUnRu4c3J6h+gL0bgESwUnjYeEoJC7YsRNl3/9BPn2ObAV/fUHnLdicfZlj/99rEcnAhJqQ9nXJiBpM/602mNdIjWCeCySKfLtAPIRaZtyM2KlqDX1gYMuVCnGWIztltfJjZhxnM2uLhhLvYVz9YvJY0n/RcPAFeXws9weSCpBHSxaKuQDhA+h1Fzasl2TyVElay8/0KLioFCIpxD2TyQELUg705euNI7JWN8yLRNkGd7bfrdCfjcczckwYAj/VKqkMNchKtQqG73c2a+0hMiznhBoqGSdiz3kHHBaK18h8lrsvwf2OcVL0aCUP2Pal0+UZPMkqPxHljSCplDMuob9bEK1+aFliSBoxksCcOjMOMou4iMuZh1MCqz6fdG1sg8T6SNdyqanzymwxDckm1jM2vHLmPMmxCKNFBPv1Y+DwrjCW351i8WnCZZqMHux8s8OC6bFHYg61+8L5dqziWyryDCVqKxjKX14+NJkO3CKKHdHYZvSRMfnkKFDSkZ7vz+e63VdzoOpBMZrHy8CifVUwnISlQirTZzjiqxbU8nIY5II71i0+omcb7L1mXguA0Cx5fZJ1rCADbUknh1HZlhMgvHrkGU1zTTz9H4K/Ka/AgjbiB5RMV9sZUtfVgaf8V2wneanBpkpfF2tJCm499QF1b3yae769vNlTjFKWdSOwZ7TJswUKm2eZhUfYUzcKfmTZLqWzu2Yx/A2xpw9mlkvneznmaD72SYfM25HBRESHQqjsH/81m0Xe6xQu2uZnh4Ub34hZmf0fsCHbwrr2E9tPwRuOEZ0WeUMoyVItdqME0v8bSZne2dzsRFTXuZRoaHL4x75iK5GgsmL8+1z43djMukSGdy7z1RSiNtmD8vFD0AYpJtAgv5HAmxE5PqRKYnFgq6Z6TPpdp1dhbnZYiVYshXDAf67zvUqZQHclf/faGJqyZMcoD0/FZiO1nIS/FjyPkU9UoNPOHBqHm/BiKn2WVps1cwiMDD1faZ6NOVfU50ksPqUjfp750/Vbl2JwlPkFlpZwkx+bALZkZ3ckjXWFEXL8t5dloMXzHwvsGNmgaHK58cIXQTBKyx7URa/ZQopzWO+cg8DxSoV0lBbxvbcnpKkSAjX9LLoxXoyJXnfPqRg8iQFY1jlckSbvLl9t/Z1DJhdKke2Uv5k8KMayvjd59dZejSTVKBg1Re265FvM+omeCAywhnLqK5Fo1qjayyM3iDxV0ZG82d45AKRZKcVT6y+9grPG0Cg4bEKCHLi2YWwkoA4mGskyv7nEdtcWqaurBhU5oHsq39oxOxIIOgUR9l8cLakYjpJ6PiKfRkxOhzwgGDWGeqG7TBgyCf5lGb18EI6ndhxci/tQfGt0BwBy5nllTSHGImt6OSYS7oqwz6bucUa6nGQo/ouimliihHNg8AeMF0cNPgDtWmHtF9Z4Uog6fz8ACW9z9flbYTplWudhqxz3bkHleutMM3QAA065JwXif0tRXRsnnw6WXJmHOdQx246+nH4O5BBc03MC1RSH4VtnNoPPIvG5AnY2yTSfbc14KMNjp3TShdjDrfwAx04C7j2BubMN9bmKKxJZ0jWeNCzLbFVs7wtMak0ABxR4iRCcGPo9Vv8VSiV9UDXCfjk1BKX++DkbPKkTqv7T49nKfrs7jl33jpVV9UOUeXnaf0dYYxdb4MP+Fq7ZSe+P3pTRGzcmwyB6XO2bsdLqUIhEIg0NqRBysgOv5mRD1FkJ5c0Uvn4kW27oUYQCWD5feSqiIc6eCLdRjF3NgmTFRH1SIOrqgD9rGALgq9JwypC+1kOjGWhG6cQcv78St1qBpQUWKUkYp75VSYLtW9dFYJf6C121mLp1sjOBq1KiqtAkHBhPsa5bk6AA+P5hRmcXLeI4UrmjUjpZEHJGKkDjHUnGCNxJMq1Dy+oEnCAXj2GvMGFZT6zztyzjQkEzj0m0qeNtH8GFiuJ4TakfI5DO5SqRWoNA733ITrFuBhKJ6inKuCoTJK9LF1wXeDhImGXXSyMErCOOQUxHCMMaNciM4FR00WIhAwDh+Yvn084ARp01a3B2ndjQitcJ/gObxqa1SRraBFAiS/742/KSBB3PfDhLyf7KGcN8UDlqJke5QBE9E264bY5He/Qht0h9MDEhxXGqLf6d1o60oh6gWGQAbU42XgwNfp+AO+zTkHIdIIUNWGoC3Ri7PIasV99ljrA4b/XKbHgQtpMyVZig0YuPj2IiYcjiCMvWcy7rwR3OW7JoTpZIvhM/R3aOmdXO8wW/pRW9n9X03BOsay/5Xj6V0Pp2YomDzrk0zb4ymYIl3rCcS4jGGqi3CR2NC0OGSX4EajnuUc1jwbKNS1T31EuXUXteO18EbnX3O0G4iuhw+yOdFgkSaDgQxXM/j/Y3jMmivBdO37LTJDHRoMxiLqoVL2IgNjw550xnphdY0NVd5FaPUtoOeZPxDfmreuJ45QSd11267YWT8o/hqMp5cJSNuA0hyc9LURYOzC/DDSt1UoyADv1YvT0qTGltDJLYDsyaeC5INtNfYo7PleV4tDz4ihikXCwb7SYjnpjt5ikqiyLkgV7iuq6Kvtx9J/s8olfKoj5fVziHpez5OJdrFc19h5uMRRta6Ce0IU91XCSGrkYKNbdD4jdPZncD25i5DGDmNaJBGjh4IlfL380Cu56MmFeZvdrFVfBDPw41dPaSMVC1EhVv/AMo8nrbk67NI3d36fl+PQRIWsvzxNoKkpPKkrdc0bHNZGQSQTNDWPy3PtyqvWtfMQ3PsiZmS//5Za+hsuKUXvaK/NHuR3am9JIoc3S7TvaMowWoEkK8z4AmI+A3TH7J3M56kqARKLocNKFz/CxKWyPc6IYE/t+PNZtcQx4yF67ELGt0lRZ2njN5tsNg5dqvGe8Nio9/yg+XVwQJ+8ZuPY9fOQWfXHzz0HR9Qv6MFGH+sTuJABnVwXkCHVgiqPk4YrsYvCjyv7mneKLEAheuLpM2chiO8CVCbFYRgPENY/lgpTdme1OOb5vpJOh0OoF6+5+PPSgq3Tc/zyHS6baoeW+gxXbzCuPoGCFRWXY2KUN81OqNPFE2TK9xYL84i3HzTvn2LWGLuYV4osowNivKqOBa1C/mTn2kbFqaTyaFQyy1akkszCHZdUR+HEFrH5WclT5gv4FdIz/VjafTdRJ6U8IHSZBX1MF7gtlnw+BCPqrcEN+5Q7Jips4LQaWVh3jsjIwRcrdOYY/CD6XlemhWz5RC8DK54lBJOSg3yNoUfJD/2J+gWIDPXx3NLnTRfDPQKFNT6p1NcOWfJfUjEUGg1fg8BpaJEwcMOMRFASq4dmiwCGI5tYmrpSrdO5FldOWRZCMpZKgdoOhSEl2n2BH2JZ5BGJWV2whqflCU5XXm07lPc7bc5LOb5Sy/dbxjFR+k6fXyZW+2rsX85GLJFXSO+c2CxEJdLCA9RCVqponZtAij7iD3dwmpf2qnQMiTAaOEI3LRa3p2soL6+AyPBeQWXuv4ffo/iGizUFH4Kpds5Ht5Gaw6/AfCUklurmYZFSPP7OTEpWfBrXODzDz88O7HFRoBW9bfkbBVX95pm/jRvAfsXQYKoB2KN2qFlhuINHuc41OybKbzRs/TomcCulCNBnXIJyEwmWKqkDSSYpnQSMWqLU+nBxGbVzBaIWzE+EojmeDFEWQNt0m+QLg7DO7Gq84JAWMyJFrIM4vDHwQq37rxLejOuRuY419pJosR+V+WBfof4ALlL+QIErmrinphIS1N2zdQninlUGiEXjepooJAXDVAjb98LrcJRoyWJEnWOtEFCNvHLuH5yQQwTHduGbRYzyvRbN1owCtqxVmfQoCSZpqaBhYhDiKSTtIf3l65LwdF43ChLkhekMm7dHwIjtVBUk3Ubwc5d1C8XjhSsOWIKtf/XlR/oE6J9CJQlrhDSfa0kXFwkoCNBbZ0/zyg1GboKRIdpCo6hxrFkAt3CwaEdPDBuZVlDhyI3yAMb2T22HwbYRp1mcLQkt3BzjJ5JVSK+qOBc0GnxrOhCXiDPn0pOqtKz0ie9RV/MuDZDSnyMrIOlxRzDUEarKkT8bzPQ/OqNUSqnDu661eGFSkYYqj++c38TFMr2yR4DfcN+E8rHvG7C5qlraWOSEe2OZp+kLJShBsgtgoColNxR87OI1TNWIiIG4XGw8ZgArqCwYYm4iloPvyFZ2TX1Qz1ytQAMiCVa8+Mbp5oJ7d4IoXKP7mpIBF+Pu3L6Adf4jeNT4AVcFowA61oRNEtxvpzbHWqK816XoZkHJPPtnH4To8TZdGIiP/iR+ksUvV63p5RKUmR8DPh2dwmw7N8q1V6OFoIjHLvYYHez1AtV3JgluBBne+akkhZu7caLBeMLEnGR1i+GcUVd36J8vfZdawRxBixX+5JqewusRWhaxg8dzCTqJ3Kj06vDpwYRzIUYpolbDopqxldvpP3VEaQAatsrgNQry0rw6U4k1Zd2tI3jbdmtdjaQ8sgtmgpFslO0pihINYhwbs3I71FBTe6Y2xBMs0FGRfx5QEKNqhcwWu+VP5Sj5d0dE6qUr8ayXC3FWWfqSmRcbxz4zhTViTfOlSogwfq2u8nDWcR4tcR9KcgFBhDDGhoCS9xQgb/LAOlRAGuNogv6ms/GcWfcdf4OhOdoTuaTT2K0DbjkgpbYACSwio7fobken5dJ71B8SsvnnS9WP/gK+freFWtdioMELUs6sOnWDPe5MSpOM9sf5R0O7gMXki88NXpOghepkg3lrpZC9GLPmVkdr58Ryh+UpsVK+2dUrOkBwWfEEVAOXrFqGOjdN5v+K8XOKS5AhhdqpcA7qdS89ugZvxXFRmSSN0FY5JXIH0YL6NvIuNmi7k2c0nMw38yhsXfWzcui6+D1rpab+BiMzKPjbNtv26hYLricfhzc25r9av8I1BjKK9QoPuGNav0ivHvi3Qir3O3SJ/bT+zMGEUA5rWMZm0fizv5/68/eBkX9tOj3qm8PlCnCSGcKgvay0Yqg8QFtcYZSCLC6EuVc3h4xbbeuvbsEAONhwSLE99kG8tQUMo+KZDIQqqTV7luZFiYVTVDg37dj4mQUDgi1CYKKUnjjExw6ytJvJ7kQ54zapiSeNeRJ7mfi09bqSoTRvsznW2O3r5ncQJxbYIjXwrTdRoEwQrNrzbpbK45GQIzHNzv2B4e8Q3tR/IS5U9jDVFdroE7+8jspdbVkUmDxgDtubMi9C/MbwhcN4xiVOFheyPFjEplnE4jMucOnA+RahY+UoHewRxMNWCJLbRrYchjod2vMfyh+ttc/HY/diLS71Z+Wun7gQtkzlOSul2vrkV3EK1gsv0XRRgeJTwyNEyDUe+JJlrmJ91qQjxeiP/l6Qyw1c9ihJio1ZmLk/h6zAK+1uzZUDP+vcs6Ru9c8ABoBf03BG56cTDsvZVD6SLe5a2InnNssV2VBKRfQLMVfUdxLy0O3u6OE2L7LmwEzKkF74atCGBr4k4U1ldLxym7r93fiRNkWfuWpUPq3paWsSBtpvTlvz4/xeBoERUa1VtKHwHT77IklHaOp7FBTPAYLxvXzgmwZZKevTUzLXGBlGvXg90BkX8clFefDyBggb31FNYQ6QFeap7TIQcsqjzDpO+q6stUoShfKQkV2VkYGS2qv0FU8H76q6RETllC1mZaOaLfSNFjKhiDRKiHhlHlKITKXZPkvYrfkLxYL0o9oleR2CYhoZO2WDE1XAzdEh7LgBxm0FloVkufZV4LJ0QmBkFCiozwot1tZDCAg6dBsYzv6iIpBpicqHS2hagDUVLUycv1plVoliNvbBC+uDgo568Y0TIRbD0t8LvxY+gj43y7CzErHj50N6/u1eKBGTlCngMITpxWtr9V8NYlfYHieDRuxMLNFedzIxOXyLO2Hh+9u4RUZ/muw+8O/fCmYrXrUn7C0Mw4hto4kMyX8Y4aRCBMRvg0n8fRVqYpTLC/9AjPJXUBqlxtcnYbJ4lLt6DU4/LC2mKb0Jk477TGipzjPeRm63+dnsI5RrdvRG8ATgzxJYjDnpiFRsUHxixI5hR/X4ydKT1249gzYnxdOd7ypyRWFXhjmJP++zDFKiU4lMBqmPYbIL/kQvNKAJr3s9P7R9GxoF5FtLdpT+pF8Y1lX9b/BEroEA3VR6NnOUnVdabTInLzKLYl0W6Dun463o0meGZO44mF3ru4gpdX0WIFrw04gH9Eq41QYZZj55TOjwrra9dhsg7327KdxP35jNDr/PypWJrAJQHfPIRl4UfD0/RbNqrxVluBodSfxLY+/4bAbKl3Mz7C9m+eqWDImyIYSlZzdg3HkiH+1hwue5qt1Zt9Uvhf3dULqXDzJ4UhBeFs5A1tNhsfO5HoEyjfXczvSBXpjgNYPJxHn4f7IGRcv+2xlfCKV6gIn5j5tPaYROe/p0r6EtDRzHSQ3+deEnCNo/w4rYxtYjJybGicJXrjtD3e+RAH9m6OYGNOs+TfDkwe+xKUFJVd+NwuNZtbBzYZrKKoxB3L+Ov3Jip4LsvzAbKG/W55Sb/vLdfh0Pme7Do5YK8eREEdoRVUjB4eSLD9Zxri9GhWXae92ei3rRb2YwH44X556y+FbWVGsjenLk1MlO9o5C/BpchoaS+cJ7y1kmNFWxFevwoRTjg+GcwwQi1CwOecGTZObKGiP4qwmR2/FtdzHf21m/0pgsA19a2wejLA0jxlq0ZjkDEEF9adY5ZxGOEPvNB5ymD+P+7Vp1GSAHrOsA1Ai5LdDApey79y9cATIaHM0p30GmYJfKKMQwo0WpIotxntGZEeqWwY26MtJSorqxk4zFEz4nrk+kV6UXCblYD9u8tWwO3ZyoFdo/m9KBcJghvC5K2VlZiJghJVCq4QOlDd2WGxRYdG1QoJ+rWbTSEytI5vbN+b21kWw4l5Vc/oUZqjK5U1ZYY9AMt5kaDT609E7CxpDLA65FZI7cYxD9X8wKrkOGS/Ze+xY7IrzyCskuV/3yobKilvSTQJLQNtFBE+gquxVayyGgfFhnRTKZO3ReclKHTEIWc+QIYjOba4LQGIZmseId9UgyZhU3u3HsQW+GMMPg/EOVjrU6CzFAZ79isZzC2B0KHRAsWk0B8fzCDVdwwujZ1ij+X3veJ+f6pNzxf+RAS2f9nGu7LhnACWdu0Ep64sDscPxgpT/UUBYrfC1Pz2BxHuJfeZ+whu6pXB3Ra2PaxwhwcYUi/8yL+f2Kwss3L/PJ19Wt1UBp0ydL5HdC1mTnGC48RM/kUQ3qsBhlWrwDAxPCJoPSKbLjNJCjz22HJTwsLNJcMVjtDZxZs20P3pRGLUzcVu95plDRbIruHZYM9iTamA2W7/KLH8BKRRX5HEBDDODtXppF57lwN6VrcyUoE1oVf+Jh79lLS7VBor555K7MVa8sRq9SaGbiYuEjbYXc1NGveBWTQegK9i+T+xdNCr5PQJuVFSwrwiTS9ehZQzTp2pvWqidjiO+XjoQJUAYvOu9oenPrlK3Q9axS+pf0GdqF+ZIVTrFEE8e5vkTD5vqg5f63lexFttM3Dm8VT4Hi/38RZzneq0uomJkaCMlCoTuHVgiiADxwJzoiFJ6ymDvarWgLzGD4mQg0Ea7W5s8vdZjb1r04vQbUGd5V2LtjFGQEjvbTDQvDkuBKIdIClHQEyciC4BVQ02POgfsPxWMTcBLwg05oXpEW1DiobGJsiaF3dGSyWMTrvDoxg1blEndZFnyU1OnziHsU9YlfTPVfMEhAWPkTzZdIvaoc0VhmbmvhYsLS8qLyuS5Obe9oFTNJRkBD7Pq3+Go2aMiTfrBlhDacQteKgOFdMghuHzm3vV0PqOLfJMDG57tC6CCE4O2wy8c408wnvXgnDOhLy9vw4YZcYY//ZemOrqVITf5X8jBEzeg8VBkZM65WKXo9V13yUgx+IQzFXRMIHTJwpeyJMgjbErPl2bcMsOO60cYJuAl9YwZWQurbgG9tPBWgpUFCM34Szs5ldwFKv0G5zZdVMazUTpTOYBQXudXAfVhBkCcw1Nkuc/aRu2df4rgdXVySKI09vv7JldHwmSe+3cNhxmFh4SJZprueio2FTeInxyOQGOmg6JdC3w7/yZYjBiOmBDGGetvBYku5rd2SFRMmJ1KYId/UZx8+ejTfy5U1ABGKyfGV08ehNmTJ61xAJrAv205yacU1VeZM7eTtVbn+91TsQMCD9ZHqtBFCfMRz7gtj6fDlEjZxEwnfptzIW1kzD3ceT+vKsrYQQ5p+vArnoq3+jiIQBEf1BRbwZqUnL76Nq3IucCYkmk+0JlrxvhVEA63zpMVEdeXcVXMQlFl1Z7zxsEggKawArT0VNmkxnpWVC9/6YRRXj484eIY5rZeOq0fy4ee7YnX97fzppTWl8Ra+popES10+8yt3lnlSQr2GdiXHUbxwOJyFp8DJsq57UboGFTtTsnP+k8O6XyFeTvqkrwccQItnGWlvXO3iookTAi6gB7ZRac0oP9Ehp6MdekNOhH3pZsKNPgR6orn6T61iRbWA9k0z3Z0Lq8W7rN8XD3X/IW1IYmqUidhLYVgZyuXvZ+VMZf5O7dtxOS48KoZJP6t9un4Yuusa+wUBMOSvXliWHpvyq7Xz88D4TMq5w9KIdC9TWUfTSdnmW7U3x/sNvSSEno/m7wPNPF/WfIuWg3vslpjFiWreik1jOjvhKjKaWYDBkyxqKiDCILOeO9kJmw8pB+KsfzYXF5qIyJHRDR8LorRJM0L4A1knWEN2CBPnb57QMiHg5fR9it1CmuzUyn1BC3wonUghgNgNbB/JQNUgrZ5Zx3/YJbcO/XezOeqNnb1GKzbD05xiCjrSNb1+hTA4DAY7kouCZUCZJyaUkSAhKFQuIizjKN7+04DQ9SbfQLdACTIY6yFDDWsr14bQSrJt7YZML+EM3yvCuuEA96pI74QJwfS7DmPrnFchp/oGmQYfuzhpL150vH1q/qhDLsWh/43o/CR+y50OPpEpimBW3elaTEAanMNRyLzkH0nJc0LJBrnxtzM/KkZnNTE2Q/vCFfAlMTNI2VsQhJN98cfiEdOcxtN854OiLMGIajQgIDqSfqtVr5ThVEjmPLnX1uxE6zWNV93njReiYuWkAHw8E8UQgWKxsh65zTeTKPHq+a24FNNQ5vneup8Q5cdQdwXeLSkadpxuUjyY0AtP2KPzRAuszh1kZ9sAyj7xs/uS2GLU3k8+N2Bfy1qxyRYrZwFYIWrxkOl9N50oqt7cBmG7V77+uKkRdsH9PNXGDbON8wAhQHSO/TAWxstdyQtYptEoVAr5mZDrVOIO4MoJEBtG1fqQj1xDknx9PFDTll1HXca+FGKGcsJ4wxyx/RJm/BE4ihGBCiy3YRHOjoAzDEgA2EbmLc0E1YFhFF94Wj4shLXPRlWx8Wl+k0k6ohXndUJH6avcOMAYZbC1Hknnp0YMhQTApq8GIMm76dEn3pd0/ADzpkc7E91LdWlTwjOKNK11cJbYTGZpRlUZkDbDGJj7Ku9hIPtEUE7pbAcnGOTSaFU2wvCtkx8i2Dc74vZlT7b4x56+mpjCCYtnn2692a+t9RNHj8L6ON08j45wWxqEbfTe2dYyguNLnMLHgFkpEXTXoyJN/QQ9UVEyGMFVl1gJcOp86OFannh59MfjMLpePYhRhUGUSRs609lGW3RjET8VKBTn0I6dOMzbQU8UzkfovU0uMJGYereMjL1lPJO9qcNcACVJpjlO4TM7lXo7S/UdEQ8vXWpTRWml5+yPHmzkCBdze4m8f0g/IeszfqHcFNvim/4vWAZ3RVt+fedIN+qvhPYZuNbBAS1OAE7pwu3R5pPyC5ij3j8zKK578zjKCgd4OjjPPW0UM+eulV1Ki4Z40cYBgzoIV1lw6kRGI1oKqh/yoWnd64tvSESFO3OxDF2j0Wdtqg4Y0x1j6p9ePZ10bLD5DU2bPjVObAiOaTIEh2GIuRScpiAjK2lN5LiDFqVYsUrtkayUcbCjI8En4YzQy9nBnMKt32ihic3/O/irA8dTxh5zBh/FbsojpMxeBJSC87ECcehGVaOQ6nZncRf7ef+F7DS3L+vIKrDE//pTuScbAXHwRWP1YPejBt1JwThUaBCYjgF83wPssRfIr+zbcNmDXeMmk3h1bTFRrkrh/2G2ucfE/a9WinbjwiCRPI1736KE/Z9vx9FuPYBShopYWMH/G3UiNToiTq+tWmC1srfja59+DMSNbLEouChGioaz1pQk/M8karoNvBdo/SsoCdK5t3Nwa9yD6TmGp3EyzVpl5sS4u465A+e4oIxqK0sjoCR5mvGdJtcFNkMvXdIMym/sLyEk5fSD/UdniJDYnswBInF/xvkYw+/9ZZj9S6hcqM/aRp8cZzsfIbIsqagOVWcR2Op/LhRMDi60nynV1zFlWoskkrBsVJXgyhXmiM9Vx+AJNV9+w8NO8HHlrsUeAh6BgwuDbzJVoxEndCWhvO2jPCuLNZ89YuAPF2SHhI1nyhdd6OmkC9PMr1N3Rb7w6+OWeXhcpXL7xOhbFI5ZCswCz+RA3ckzj1549yFT0vx38anGCKyG8iWs0y4CxRFjTPm1HfGig/3IONZI8TVUKGCB2svfaHoTZjsnMf/87q6MSJ8OWXiT9IGhs93w0jFTNpYfExHnp3pON9XN70pbo3RhxhSo5sNeHjruBqiq72ouGHtRco4rehPjziDhW724paU4MUk0ThUqmedtm27wfa1ihR8avgrBJf7YeFKY3AjQMlE1XF8lMNzR1cb1XE6AXnvnKa/227UA4Ru5vUFQSfvjF6tzeqy2/Fnolhe7IigaxnuTFNkD6ayS24n+457aJeSTvhs5IEXX3SNGtu3yrnHo0DxiiT98zIce4upJxWWUgjb7JNbJEinWfOZMNpLm1yPjkYXDnk2YYeNbvaqwr3eh17rtCN9BoF13xZmyJGhR3GO5Dud7PsH/TMOdj20zo7EYbk72BBwao/wsvpwi9PnM6OoNaZaZ+Xploqnz+2VY2gcjr+1wtbcAMlNEkaqmlndc9Wd2VQIxWUc25TqDyJPycI0Oz3rdEXQDackvkSZwZskc/65WTJI1r2vmi+unS0dp8AZZaOcTqV6P/6vkbaPKhPg54RxSHhiJ2GLuUYmCGnsxbwjhDBWGPpHhjQBcUvNCHaRtePTbn9YJVCkqpHEQVEZmz+UhSY3WDPx94n1zEruTyH3BMqspUx9SUcmKs2jRsa3n1RVYOtlXdgXK2hcKD5luBDC4WHgTP60MWCbNS342iFRFsWKQK/ZKZtS+kjd4lK3PCul4axyfT7sCw3t+2Q+mQmuJthEBYcbNyP3Pxee0qs9S+qYY50k9MqVnCk9ZTceFSrtgr1SP7e5WfNKU8kIaihgo9pKt46bOYpeibYzor/iAPal95vPNzCBpZEr6C8oCj5YmuGIkUfPCZEL5hfhwGiQg+DQRQpgO4LQ1sgpUu2ArY5tZ3moMI56qVkl/1ssoCycAuIaYCEAUdbS4amDr6iyGJghwfwiaB49qr7HX04jSIFabgQ0kJ7oiQ0+LYIGojZhMvbbvO1jSlzDN/Qnd+JAHOjI3Yo4ei3VBwCDEtsCc/P/6geMSSiWsCJilJcDgc9dTFXmJzRkda0Px8P2zZOxYDlrKy9Eh/7vs9m1TNJfHrGrhHutXh/qOGMtUoutK2VcI/fsBz6QvRfZWpZ5aJutV7JjElb8u/duMNw+yIrkex6uhW1Qtbh093fSW93Ir/egYg9MfPpXarQywxyrMvikII197srFtcYPFhYO73bIoVuTNmDqEqiuCZi54z5Ccko7reJL+ousgMM/ntgXOkUy9j3+kJWE4GrwBpiSdjY52lpKS8569Zcjk8M0iVlpXxRSyJNoIn3QaL94GnpHKaA3BHGVh/cjGdxYtCjcVaUCNOh8h8AhCCGE0Eb4XFgM/2dow3adezlSkLLzl+tvVHliceOVPFWI5veY2TSLmqjX9HEtrzPdjy8HYv4wSrqF/Ik94Za6T5pw2c9tJdaOm2J4F0BVOiqBLIRdQTRHrBc9sIo6u7JBq0OFQbZJEVYheWfKacG94jei4zF49zVj4ZwczFnaaWlkpe/865sNMx1GB+4hr2XFg7G5pK3NlV0CW0QqpNEs2GBDsIO75afKeukP1Zh/uE2FyWKxl8FolHxnbuKLSdf9KLGZTphNF4baZce99kQuLWNJuBZcKiZI4ovzeJoSvLDBvQqlqKPDH3YLNIuIeFO0GkuWXlrJfMiHm9mjsaFBhGBBw4I1gbxp6Tn2HuTI7sVClGcg7+rVOCzEZG3zdIzdMecKXjfM5hbZ8XJQBYMjy208JFvVj+iKuxgGYZM6SD5YUeV8nXgYfKHXY4Gs70qtqEo7S0aIzAoeQKDkCJiG62KxDAKRyyEyInJ+S+q6L/zA2fOOBTKUsHJ5mlnhFGyNoATyrV9LuvzTav8t0tcm9cpdxzn2JIySQFcoD52K5rZnoUwvXzi8728mgd6781sii9mK8Kqw1Ye7sa1KBpX/Q3/XdqprWfr+zkIZgZV6NNo/pUrvAH9UO+md0GTAMNGC2Mk1RQf/BcOLQQA5O5H0rzZ7qsDwQG2EUwNKwcbr7xb2bhET9zwVChPHZYWdLktI0drEWvHE0W1mXb45iaNIRa3etcXwBCP1J6yDaYdOgLaiP9FhKkYlKwyo4b9UTLcZcPF6qtTjdGMwfHOz38aRDmBLGgwSpTbIkF2uW++ugg41wQTGdhNX19vhhE9j0hIuTBA+GX6SxpC+9xlyKexb7XYvu+yymU0eQlL21uAOZCl25ynCZo+JOqHghbY845V8ZNt8a8fkVlk0NgzNLO+LiMH7Tahcy1nrEMjbrSiThCDlyjt3z1DBjzKV+5kYTKqeiuftPBiEuu5J5G65XgMsAFwmMUV6JTLW45uMJF4CJHbsIhnW2lUCA/4psCn5FkGU4S1lUrt0tR9Ye7EFMJJG1ZgwLCstUZYzQTx3GxrjC08LWf6Yke9cV1f+w1UXcF5szdorGjWhI14EsCO3W1E4+7mZre8xdzmfyuBV2J3nt3XW4ul5txwZBlcaCPeaaZTXR0u5Z3xhgmJ5MDZmeYxOoPT2VqfzIEiTc5HrNovZ7/m8DZVnP7ZDopegAKacVhHcDSv0qPJdDwvy6OWyhfbRM14oN+TCtAcPi3TBzBdPuFg3KlVJ4D2PJN6YwV00aSBJxxXNAY7OOyUhaqf4MrXgUP5t5irh9RCjk6bb50uPeXAIj7YA4t+p37iPDAJ1uNfR+aD70sfOUN29PN91pCVIAc+C9m/EcdcolsvfTiEPwKfESkoHBa/DJWK7LvmauC14bP50TU3xpR7dkjis7ca86/o+qhbR+OzX5ivM73Lute/cxaK3TwJkdXcxsVZqCCOsXpDiFg7hEbCMqnJVtHyWAi/Vwz8APo041MahOCjYSL+EwJsvsFVdUe/tYXT/f8K2tA4521YEMhiXIvAD8qDR+AOYDJNJl6y0ldgqmVripO4IRFFprNgcfDHBStBJnXCmiEWnj/Z3zuGRiTGeXglIHMR2ZgWgnfd4sdu6ggcbDgAHTXdEYwIBgtv8HxCw+y1lE65f0RuhOq0ELX0hOJOY/nWRhCQBPfIH08Hf9FNDOvaHqQWncStswnjdEpIpSiYOtNvQ0kp4F8a9KipQM5hmNZ4asEoGja/oo9FbPJodvRcDOJnbbQ3DOekyKL327i5xIE/3jM+aDxVp+zP7AZmrQToEXXCXM65WBz+8z8x6yh5l9h8mjB8vcwchJBzSkuwX/G0kOG5S7yet1j2B3waG7ekRd4F0KyMoeC+ys2mYxNPwqLHFuRH+clcDmtqxrWLksCurUn+YvGswp+4o6ntKE0u3HgpTmKRw1q9nuYShDSQSAHuNId73TyIYsJNNVRnlrlhfdBWIC9bClwbGx6mikrJh2yzjSvn0yVdyZdIJEaLDseBCvaRE51pglbdt4UbYGiyL2eBE2XT8Cz4jNDQVZBy8+RVJPS4ow9dUVFGoR11FbTN1JExT0WA8fbNpTSs6z+6DEkYg+0BHXjVUy9Duh7q4UGIwWTr2f0CKHifM9bwRE7tN9wrTM/3qg3/gY5aZOyvQ7lkD4RBfBdnOEaIUcGKK+SDR0AQEyyZaRZHB7tTMFIGNsBcHl5n1JBBJoUTXBZi1y1nNXLvfhDWl5ma0pyVUfBZDim/WFk1IA/Pz57FQrW7DFCFsYaxc3vSYiLLayIL9rtYkSe/jcizsajwToXKSUeWRh8N9/2YoHV0LVeFq5uFobouHZvBtsNsZqqVQnsylpUJuITTbfMjEimCDiJo01LvXs85cZ65wLFClwh6EteSL947TFMHK74y5O3M65wqdP5B7ll85p8msRqDplqej7QnQdPrgHFT/T74aX2sSIAHABJcbublgTVSvUJvmHrzdLFv8osLgvABXIqD8xpD1QXIfPeRhNtig5BRgFz1lYVpW/Bx/B4KqS2dvkI8V9S/WXXqGsZNEK5mxrTcQKN3JNoScQCcxhJqEz9sjRsv98n4OO1ky1FL2dN4RflEGZGV61qdlHyyvPYqUwqxjmm15k2wVShdmonUrbHD4kI/WEngFvEHOv/PceVIpTN2X1GOnAHVQ3hcVcY2pj8/0OKITg26r47AQ9QPxJMjPCRmzv30UqcsA/5KrTKPvUHb+v9YWgU8T3L/hClKY5CDN02IOcbD/Ug/bd0RWfJVEKCNBn5fVovxF1MSwAryLx+k2AHWdRg9WZm+fGU8KzLU0SMysoqWP5ntfwbObv3frjr4GiOKHfDca78rOrUo4T/0+OsJf94eoBasAjcIxpQufbANoeFxd+1wHceM+qUzy+SQSJ4FieYU8hpkul/VBNYDE9Lw5XlKUCsilbrMLUwg2vBAFsQQmuDq+4AbXYkHNlKeTFN+Cj7t+t+uXw+hMN8NnrCJ/+6jwUGN/sjlCJYvsr8lxxyKJodFxvv5djmEXcFx42bbe8xYEnBRZx51icR8Bx28NUn6M3hrjJQbAg4fg7seKlVcjqEO008V5Zy0n912NJVPEwwQ/ztKZOs0HfXupfKCsbeelR11trgXvRX8H1ihog02XmDzs/kgZbrWvmftz0mnSXym3OKpZH7wJXhjsvVDs8f0wgyhENXcAOnP06oqLXS9wwxRCwV/BR5+UrmESxAYfMr4BL+MQgR4WeAtVf/BW+T8Etfng9IoPzTYDWwfNOJfxCdjcrEmKPDH3+luprAaW5MsE3nkiXqykff9KpMsOmzWuxex/7c2ws3GsfhkEnwGhozbI6EX8hdsnMzVrGXJT7wu4iioSAttV70ahZi3J3LMW77zC4XAt/f6ABHayfWJ627mGwfurxZSqxmTk9b/0vfweDuQ4y6MGGJQpMTqFQaKr/2lQztWY0tvNsx388fadPC9Y5Az1h6hMD74dfmfnnyCT9WnJPKb9a9+XlhEOkRlpXQbjJ2IJUQ7qFQjUQ2bEb2jZ17IdcJMT3dTplnh2+Y9AzVf1rb6niieORMz3uIYT20BJ14/EbQya0PCmZFYQ+DmfuXOWdwk2+iVYYfXu1Z7lYCFkHDRpjiYDnybEPi1uZJLdsa7RTpQBvmn1I/sM7QKAzxfQV/f3JiHNCb91Y8Dpq1eXiZn440OYYmV38DcNo8sKPiBDA972b4Cf8cT8uVac5kIY7dRWsE7B2ttPkEfdOo/CweipMcVmYPk29LYGGn67DRJ7jm1IK8tNrPZPXKkgbR/qCGhzJnXcS0Dkn6MFuXUOQDHNeDaPuGJl7Td3XKiaEDpIdxUQwRV/r4m0Nk+Z0oEJAt7Bgc5LK9G1FmwfGqvRG3rQrB304JlnKNq2O/YfiTWnboIKCrMnUeiamsC+WN/t/Up9WB+VYbWOHIjwSBZ3PvlDSIKWwpthol4YnSQ/JTz3q20iyswOiEaVL12SJf4UfqAlP5dI7MNE5bRPtrRmy0MBmW2YeYQkfqPvx7mHRRVNBZwRW4MDb1pfwbJjaLuMl9HXEh1nc3VKnxWQ9Ns5WBC7/MhkKEjv+sy5CXI+qNKHanKVj1KweH9Rx4WLGOdjpo8IWAG9xHpDbYB8OeMp5r7gzoGySRm1+bvrnuz8FlHVOdMiYIQpSPOVhFwST5ZQDitPROuH8Kja52aFyWtoEx2XgA1+JOIMYkvluYg4mecv/OHdzpg1QPY66wtY6+PDINVoKS4gTQMF8/9WaWLdnqIklJOztybqqVGjITPBGjBtWQPbR49qf3+Ixgk7dn33/UBuOrfNVgMLS3JKPLRGoQFM5rFiMSoXNdjhKM/9FRlPry4zNeM741guDBOGAW71KGkvfz2s6uqmEZyD6WlxjQNYYu2PpQdBtgqIG+ttXvSX2sq+RXMRPe59qZq5XdpWrc1x7Th66Byq1b7EzVEl3E2YbAbum8Hzgqo6ZBywd46spep+4Uj+fawdrxchoH2+T+DG8wQgu8YKThx26Ivhe8XpBJ/F1jiwpFPUC7tfefgd+Qm8ZKZ3waD+IaDm+8pJ5/+V3cYbrSYNSUWrWzPbh9V/Pe+NWd1FByEs4LRrgip0I0Zi0mn7V5szBw+shVMepE/JICC9TasllIN+N4OFvUVxRs+fCaYWjk8L+0DMYHf4F4yV8EUtEgjZ6Z7GuCwQRDouRuzCErb2rOejffNIsGUlqWSffCF1i44sKsRlD/gfQ3JdoGqZGECdWBpsd/CNr4JIbEW6SwYxURA+p4w+0+abGDdplPAbL5Ammjfc1Vki8xyhxXJPPsM0INtKSuIPVkRsKktSHiGbp0KUUPh7ouVwBZx+Hbxp6N6mzkOQK8joNHPXGFza9mQv/Ks9m/PddClPwfADGydk/KYMfKyJkIuGyLalcDuMhNd9g6s12zVfd9HPBVN1d2KBDWTVs94+EAhMq+nrXHr+dXiJ+UJbRy/TNoVKKqlD/1Zyl955Zi0ir2FfW/UzpOMUbbINmumC5aiUcRGnQv/PfFhhApSHXpKNifdj1qN6ic5PfAwCwBPI40xGknUD5r/J92YCI4C3hrRTS5bcIBZAK771GV4FM03FQ0yKRMBdfShEwgWTdFUT2JRUw/X1Nawpcilliz74n0qmCiW/gtbqmLbf21DDVIAlAw3fbYGq74Lz9uumWFdhLnw4wp4YMFfXtS9+L0jQpkcYn0VFpLnZY8sjmz0P+pOjHwCgksmOdfd81plUMGDJWgWKb+VjN0/nN1D/SSErH5+ih5g/mxU0oyysJWcL8gTK2hYgq6+DyX+H6sId7Vkyu77qz0FEcaNOME4WIjIZKtsnaZacFtKub703bTi8ZGLzgi2Zq+h6xmlM1t4QbWU/Xn28yMDuDJuLbmlm4m2Zw7LGZJ2K8+e8HKJKIqJU1NNKSW0HgAlkJIBUw0jHM4HjShZzKq+x6rHsn+b9qMCMNHBLdqQyzVadDeMlujmurxHcmoIB0y8uNaTHgtOcuDz5DiLWjHrXGBGXJOWy0l0HXeTyUny0QgWYQeeaaHeCfSj/aq/1PE2smHNX5WSSsrCI4NpgE0Oikgs0l1YFCTCkZgvliNa7LDrBXb+OmxvOx6RCyAGFpDExAlZud50UIwHGLf8M399dJvDuu3PI1RKCE6fJvT6e39UBvQvZcf13rLgxMx/0ullpiPhila7rubwqUBHy3KSkMPbDRmm89Ehlmq6ZmKtQKckLLpSYi/6RSpUSwu6M4VHg11DcJiYMoLoZbRTsJ+vxa4EPCLJb6ACmEOWvHsDijFe7tYZsNRZY0GYFFYbuov0BnGH7lWZzuHAzOSLL+uZYKsk86pu4gloFe6qh9WmmwNN+XyCOpRBY5WuS+VAn9xpLvCQoLhyqgGl9oAO5OAgyduYR4o0Fa+82GuDk72ZpSEotm35CQqA68R5iOCGAZlo5DT0V1xCQBpDe0EDBeZ43vd8B0APQApBs2S/F12s/dGH2FCMWGv8UOiAAmPaHyqqn/8SqKe6NxzbZ1p/b98NOD2Sscu38KCeHbdaPs32UN0kQ3b6LldhM77b2qc6fAk+IWc4GlBxIWSXK0cB9UqjXyUO3c9cDyUJciUbUvhpnq8Pd146U4A2wIXWvr6TiCZyCD+ek/d+aNffJTE06IOKnJWVg49/iHtWoXsO2ab5UNCwFo+Lr/lkkk9O6hsVUZfrvpqxEO7jeVwUDmPCo5s4HidUu11sAamTUQvyqD6G4Fh6BPO2Kt2Qw28fp2NZcR47C0eLLmiHntPXoHiIXl10XIm+SR3rxT7GefZsDHNoMiUjKGqRObb3VD08zwUfAQh5PfwI54KgCo3dIHF8hzZFVBJ8QAHCYpwcy6OTz7gq82U5JCOxFv/EFGe7zMMT/oU9mICJgif/L4rRcNVQk1AnYU9iW3XzC8mFS/0KfhjSB6XrTqi7wt9Du4i45u8Fft6804m37qvZiw4nRD1wF4vOD3h4nShnWNnxEyfIcaWHoQoYlbiu2XWin+U6/eHADAXAsSDSSEwfmKhBo6GB43zJ1FwGOAIJTa1/9a934NCqqufM0wH59tGgUAnyEE113cN+dqtLpRg/bTyawXNGqGdRthG+Hs4HbkXFn+OSsv0nRa2j6TnqHsiQsuzNUDGTlMyZC6sQBN95JpIL4f6XTMx6KkORyxUXFmv8rhlAsMlBaSl3UbwW0r0JRAstMlT0G4aPN5Bsifk0n1wVqw+3ltAtD6NfAD9nGSjdURO0bTeeRBNfjiQMyIqDCnZ25ymqHI8AvGXmwlS6DXjLBYcXHiYORizgR39v5ial/1P6Ljv3vaYm0CdJYNK4nZI2teO15SSlubjfdPm0ebDj6QEGo9iT19A7LXRFeX5AUWC91WA7iRakAFB6iHQNkvGCr+lWiqJ0ZQOtXNweezbzbh+rNAV8+QOa24TOv/7v0UM3Upfuw+ebAepyYKhl2NJYj17sGSDZDju5iRiwPJ2UIQo3yi2Zc96T+jfEbJMPzYWuuuraPEe26BXeWOQ8bhwLBNph0L8XlexQ+tQblEvSMum75q5TQ5mI9/wPQe/6BD/Aug0jtebJJSDY3+1BtK75ci0ftGtDHAkvBC4c8/oauNAs2geMJwBXOoaWJOeQgXhRB4HHg0+paxZar+MK65In88NfMx/sCsoCxk+XT/NLVrGNeqP960/I5JzeW6TmilGcIOqLh7bgM7+Uowjd1oK1VEWbGFcXRSWSvgPRHc5F3Bl1ekctIhV5pLRmowVuu612vhdP45Sugw8VrYiJ/4795SFRvJkioOzIUStoX1uUIr3/a/EYUHWs9Er+x6BzSDMVzujvVKlrMyVEi1UJdDC1T5Y7E9ZoPF5CnnQwGqrvTjGR6rcWoOmVvxC373pJIhMXohLwbPiQe154Ie7CwqrezvFDuHieO74lJYWY7Oqm0naCuh19ktcBDACtEYOcYPeWhpQKnb+zt67bLasqrx8Atlsf/lYTm43qE6oqq1vzntONq9c96+QRanzGYp8QLTduxjbA64Hu3nSIy5ypWNCebYhK2afYgNywkHmjMk14xjoYzcmUgyacJ6JkQDR8h50PZjEZUKzEtVuPk1mz6GQND56tK326KsuKNJXXZ5xPtMGdNp35pIsSt29VU4fYcbarTqrhsirXbC6J8/nvkIGF4ij/bpEPDf1S+SWD8DL4tHRREPXZl9ekPrgMHjzcJGyn1SAgtEZkzPCRsmgXHhfKsps4y+aeu9KnkE7FiYlCaxoDxGD4O6i6eXU4Z27zvH0+JM+OgPd2cYAT9lCaZCSezBLAXZaV12q7wWx4Doc7VEz/ToeJoscKQE/0n+VqO7lRaglVbOakULnuTMPvQKFwHmn4yv9eqYoARvJ8j5sG7nX8xrc+MidCevt4ZliRPUmJ4+dq3wh+59CtvilrswO2dDc6BDv5Sf59GGYoi6RxK+L4Qh/SxmuMWNzL4mCzISJDzA4Azep4cm0sfHnAZDEg+90Uvky9Mi/p7OqOjeah5zL3g8Lb9H8zhPIgkxQswtPX9crJ2eVe8rSC7jZSfq1S9sOd053+Ep2c7gcFMKpyo5QGEvvRypfrMTsxbTeDrTOpKXPa3ihuMprcIPwieec2kARZMYRExIe+f9+0Xc5r6Ww720VbDXKE4W5TaaUlFpBdSDRT+zkF5c1DcT+0mHZaC6sO5rsEbfbG7VOPE6JiQZEvoOPjdW3nQfjVeJmhFXRrOGs2g+0urMQNn51NHoIyrJAQQxSI0wT6sc79DYYv42JPTzXxCew6K/sfuyZEZT812TTimpOHACuvAinYt+QPqJTO+C/uQ4ONewQRnsbibGd/hEHzjwtsHYYL5zgtFfO2Q5n7MYr9ff5Mzauhxm+SXcvyRLdncGX8AnER9dT3+cd/6RS9aEeAq3Yq+oZO4M95o7TScASl93kFuXGzsEykXC3qvt4W5kw/C3xEhweklRvLem2J3Hs5XxHOwyfaMFkDavsPP7fTO04v566hnanMJu0qjZ7Z7CavehFF90WOrJ+J/sarM5qMgwAVkqKmGbUUgOX6cXj/ZoLsZQrHKGj0xjYGYwb9qKwsb24MP+V/R6NIiTI/9XJ5sE/0202ZTw1S9qZE2hSo43ZwxVlbUz2xqap79LU+/EjKEw5a8Z0XGFVzq1neiV/AxM8Oqmx1+FdwbjOaK1tM6VkCrGnqU2E8xs2A40HlKSSMU8+norp9gbQUsU5jxZwaQmAK2sn2lsONrVPLCMYwfrCnXsZ4Yu5N9JP0wny0531tdNSRBQEScws/8hcA5avNZ3vqjvxNk2eFf7IcZ2IwXjs1olHhHrpnho7tHieOMaH03tbmHD9amLHIvlMY0LPIEhhPTB+I80wiiyohW5zfZYLFz19HI5IZu5V3rHWu3DIqMhB+P+VU4pIS7VjyAWCcD6IGDqUfOjMO+dSTh8IjE+KzM4luDlUo0cP9vw3gfEX/O9KAtNeqi4LD0Mpoqnzw3QPa/cgEUPRwIeUsMKrpHPQVPB3dha5yDDuhUjg8Zm4CQBQnFsigRgbduaZtyjUvVjM9sxrgSNH4ApSO8LcG1fdyi7Z4C2xv+HL/DcSgR9Qs4JhoDd7d0lGXGl0g7PM6QK8E6g3iMdkyXt2PFsohzXltubcXBJQ9p4GhJnRi6VV5pfBI/XTHn0HaMnKPr1Tn0tZPhgl5n4gIsNH1Htk76Is9pWxHzdwewAtOWEBOIRIsh9rDYTI53zxqLc2jsLZB4qiioypReWTWo0O6Rhcwe8Ig5J+2cr169AUcICM2c/+5kCTV4x3ClGCIFuadi177j2uK7ENee1a/IsEGkZFXC9sZe/micruZYqaJn2mhyzBIyoPs1w/EWSdz/FEfvjXpYJR4/2QcSzrOzXn5nEZ1OsuLSgr/pELopkZMQssDOikbOERe4DKeNlHLsDqyYuUQfjRsAJpzRqBcmz0AQTDw3opFWsZPD/bZ4SHZVrz5HUgMoUMT3/dY2zA7NI0EJLDgLp5cOGWy7mYYvmc50YfunF4WqZgev8dWSis6VA0Y74sS/+EJK4Iwd43wqakJQgt2pKT2IUMkfSKdp5sEKTIif2WK9SIwbmAcpusX/NbrUV0uFzeP2uZsyDy+FNaFsQxnSu3upgsOcnQk3r+k9eFilY8urDhFjcGr6zp8mpOAqJYEvZQ64Mw6jmoESLQ0XMK589MlgIg6Jwxn2Q4E/3VbhOXB5DORRy7k3QnEqF0YCGTvlgMEkWtdLSMOwIF/DKm9CYUIxZFG263AAQstPgxVrpE+86YOem3JF7ukhiwoBjsSdsweGaScHTLP+krOLgEMO6uK0wrK2JPXkx4LCwyMXh6ZrsJwvhO2CzYLp+iG5vgbwu3JzxZ/cA5QQQPxddySLcwkIsUtcvo43JcESVTzQ+cSHwXsupOASRaKyarftvf+jJovSvbZ4pehkUE0RgM6DwElPa6pyR/F6uVE2/mbzrzFTJV1bzno6MQ1p/Ae3Woz7bSlAqkOqQ7CRBppkAR5P9w5BVrVOf5SFfds4+LUsKW5Fs66YfFu55Xc5n3NfnVhUhh2yUQWX/AllG4KMNsI1nJmR5GERvhcNvHOmWz2+JtAq/RpIUmmi7Nw/tSq5sLL2ktDjx/zh5YYghBdHpg2G2XnQypouOMLEY4f6xtNZUURrJKwhuL96opi24Xm1mdAgttEzojR6aAjQOhSlejlXlZc2HwVqL7JgoNNM6dnFdx9vfcKqMT8utYRkx0GWBC/ON1Cc7pLkSAW2cEI1KiKFKMY8i4j12S2/ZavnYyRwd2tmGbqLuCk6txCbxD9BYaMEamTf7CXSYc5HrVBBt2kfCkTQeTP5DzRUU9dTmf2ojd7m8Zr4iD8cmCGTo2HoUtZfr58jxEhsPYeVutaeojTtEgZtZeMSUe8hfuLUN1wVhicTRFObvAQs69pakpdISfzq7sgvGmqpMPc2UlCo095MRPkt1x1srk9Odc99h/rkV0+6xfmK7UYprfx/a5zXQZJVT/whHse6u7Oc7ijbq8GCDnJzEes5rqpYP+UfoY9vsRuIyaIjyxLMKClGERxz8g6sI0X3MUkt4QdX0mJRNeHFLojpbBkd6Fdx1K37IEX+Fy0F+T/t296447xfpUfyo2GHfbq+ugCgSv72mtHVHmPtor80J36B5jRDGK24izyhzbkUuzUT13u6i/6Yp2wDLtzzQtO2JJ4UwttqVnGBh1o3VRGgBDUNIOxV7mdiTdVU3kR4axHRq4YlhPGGZZwfUb+eE6kB0+Iis7QutaZcKdlCk3p/m+rtzBOTnIEWz1VpKsU3Ghp3YsfBFVKBQkumLNsJ4xCVV1g/3Pbx5dB4JKOmuifL2ezwYPIuMzLNlB8dE+HinlsMH/AHnO57Or1133hZsH0Ce32d4jrc74LbdmnTCn90aSoy8YBP3EVDuO9i8Dfsc9oVTJmpEF/0WmB8cnEIvcNUPWvamDqCw8QMlkFSc4NX1MGHgNGs9RGUNlXxwEUHhIjsGxrOVq48A96lJjMSU7ces/w8Wp7XWXsyUivCZ5zghlC5gGaDAh086rrNTZ4ollLwSSQT8fJ8L9NK7o+eWAibaH5a0vXiO0CcTmliyUIl78ATzIdmal06LtTQL2pPMTs/IP7+ulh5nTrd5Gt4yy+06GM2Z6/BpVwBrYErLBChZbq01FclNXXWPI7Nd3e4xC84QMp4fgDPwpsNEL+WMNVvlpTwBJTo7UHHrEPFrWEs1ckLId7KE3s6OvWXUoh1iN7iP4GKg3dbdmwtiWxsQ5seohRsO2y/7h1X3SVmu1kaMQjIkAA0HkhstIGljfwzsB1x1WayOVNQktTCNKqdR6QU7trivBzNZMEuWlwp7NKvGPkum/iC0WIpb1WZDUTRJDtPAzOAInZWXtZ+57EiuadGwX6pnVz17JcFJUj1AGqaoM0HdjzMlycshjmHhQkUwPxIWcEBlMkR5zQ0ik+DddQiWVhcl176NyfAkmSfdAqfXaR6mYvRJzXYYnqoEB0dpqEG/lF8+GytEX5WAyaLPBBxeimpFtmil4g6zsJdtHt+zFl6SO3QCQ3g26qP+VjmAEholhLvds3IJZmLzx0/3fSG7yPbxF93KtTootO9eJ1FRudz7//M6YAdg9E62idzBs2g/Hb9fkVRxIU4Cp6IlSfD0D+lmGD/biAEJ+q/PdTxQ21udTBND8CV1fqI2NgUin1Eo4ixbmF5hW/GVsDt6a/kZtXwUNggzNeV13S9M/NHk8vIKEYZhU5nyaxEtNXUcJDNloNY1cn+YnfzzhN+jt8MAo2sM49ITtuRWkN0VkKFCJUsBxguYXmCFkTw1Be8qtS79RuBGCgRD8HeA5O0yGtEp+rlASHc2TypjxcQ26OB2V7Hk4BkfVnn9fWt2hiwTw1wNs+ENS5XYk24+Lrq0h+EEQXYly09xhsIJyfkTIucBNi9SgaCE8k44llj0FcngppaDEKpTJ1j8ax1U55QuXSAYf0aZGnWh9BolxXOZ54xBU3C2d1xJPY6EIFUAn0QpoKuMlm33lb3UjGbP1prjDwvtBV0dduijsd9vp0WDbKHsx6+cVo335VogSiWVXmnsC4ZITf803SthM8JW6tHx9IpmDQ5KLgYEbuYjFDfXE5yJIacYCH7/L5gkkTmBvwfdfBnL49/QIwdjHZFQuzmg7jjubrUiS6iv7ZZWMjRdKXTC7MbbLgipTwW+h1HOaKmpMLBOLwTR56GFK0qe82VH+tQBQCa6vOPDOs5tkJJtrPrct2ZCi0UZiO/2lJzHMmeMdm/Ub3g9hbU36FJsSudjs9tCxkf4svWGXPFW/jcBLsZ9SN2f4cI7gTVTu7d7SoqjuO21Kz7+kgqoLMgYeM4pOb9mjZgdW1HUg5qFF8Cw9BzG0MpJUguT3/62Q5daxAEdb4b3d0O9oTJQO8Q9u2pMDOTUQksf08tnrNR9wgrlisaKf1cX3F7hdg3w6nlIU7Mc4KhgSR3mSe4zB8b1216wyXuxcZAXDO6qzn0SSb6jCHK+JkcBVwJDun9WWydz66nMnSaHzU46xdJwyFBgm96VHMaO870hWztBx/5i8pqtMUOL3s7xZNCzEB/hXDsUgs/iZclKeOXTnR6BJt9QZwQchGiaJd2egGZQ+wqUA217TMMmtXFmPkZa5U8v9PM0tlz7Jh1M4HrlSlczhysqmPpFs8z05gBd6H/EFfjx9nMdBIBVULSHrFOyTzZRWdTuV/eB2GxhwKSoapF7a+OMe+VScQIBikUuwL5cVdOLrb4HIiR0p4mxKtLG95gelF4VAMHqdbKb4gvat3mV7C7VsfBHTg7RoUaidTVEG2RPq/SZ+7Dy4ePifYMcuzWpV5TjEH6b6MuKrLmNml5KEybCyoHU/M8RkUr0Ac91zet7g7e+8jhq7qngTuHOPdbVKItbroSg6Lzhaj4QoegpsDCsKkX4cnO+yuvOUsENa3gm52/7aPtpBb69Gt2YAp9iTjEgKogtAbTbyaEM+XC3CEvdXMhOUWjp8Ys8946PoSQlvlVx4AHjuKJds2KLz+5dMmnJr3zAdEflAxRS40pRhOmrLfcxxxo3bM/4S5XwolJK6OekMLZKJpVeOhXx6HQkRIFCTuNmk99dPVpIQcfMqJdRIg8YHjYxR4DbMJcHKf6TlT04dZgIDZzr66pcMI8DZvk4t7RKGR9bwMj5YS2OljIDINh4OxeZXt2r2zStEbtv24QMU2FUgrVyYnAJeVXMOD1iXbVdiACJU1O6XZDM7gSyJ75a6ZVtSNP9TLiKTAKN0QxEXaMEqH0o3A2+F179VUGhICG9M3Al+Iexi/8oNOaQLA0LOdK0YFh9PI9SQOO9/5UQUxW+oq+cwVW5xK6PJwwyoRr9DAj7hiFyJZYGQQcxMPWOPRuAabNt5DWYsEA4KWsNGBgcgaJnOG77q4pyaIdHGMNNwhBb0GwWo3Q7Ibi5yo9lvZwwHSCCgtgwtLcAsfVCNyE8SCKYiEv7CR9xO3hTa0EoYQwg7Ot1eSMzSGFKzT2GJiJeQPheKe88EqgQtTTFO49nWxF2jONuJ+HlnwiSpm93WIsxFAlI8Yx8brRXiZSqB/pdcv6OefDJka6Fe1+GJOFwtKMlX9G4V6n57vbzBxhmeM92di1CMh8psd6whAza6Y64TXxryzqhEs0yx6MpJfbQnDxsN9vkHoP/2TNTafS+Ct7EczmixDM0YyDC01QDo3x/nQVI0WORhYwGo4KhMH3i1YYkCGsLObLIzaxxLmkCW4DdfvPZvGriHOt3hJWwtSNWblZZ4MmUxk+38ZtgkOyg3bQre1O/xVrcSqEc9EMXf588ZtUPWVX5aa+YTFk18IhF51LgcfBGJHPMpWHSOAvIbzaGHqaUzflxvAnqvlIpbRLLu9IUcahAJgPq/Y93MXW9NcF90NBa20usxSwF7b4GZh3HM+KWV/Tju+t4hwv+HnOwiqOCU1y3G6HRr2fVDewm1NojE8eXDhu/ss2uuZ9LzsS0OZWuD7dEGOgnfD2SnKKJdJBG0WwI2hwFuUdD+IE52SFi0cFa1THpPtlNxz0sVGMe+zoNtHWvU7DyCBIiqTAl6CH82FYQY0na+qW1lnfBncBNyiZlnOKYJwhOZMpyozyDpZ6TFDWOXUkc5l1T33XfYzDXakSqYs52UgCegGTxIreIpiMUXTZFHUGVHEKwf0ResodDjtDdiQFD39H3jv0yevHfWZIwHZbFqUDLFSSRgcYGzKA68qJlJGaXq/XhCzztqmRSOuWbt/txuYQeP68D1AgFqPrqx/iMK5VUabQr9IJnVTn1lftvd8Pl9huHTXTcpSQz1F6pzvs7ZpEmMymK0YQKH/5Ne1tU7XSrgZ4KHkwkJrZFw27cTwJbHwIJrVqmjOZJqQluHPc3Z8zJQT6XoJc97gvJZEskja3/YcHS+lHJM0zdGMAsXj1KMrytTgETeQ6hCfSOYcjUl4VzuPqNd9xIaChWEnXAtwAT27gxRb49lxDEr/P3AVpXaaE61SQuCBevSxprnGY40SyIY6yrv16vJX3k8Z238Y0IWnA3vLsf2cVpE52NSxNJg0s5pszItLplaxnEcPwh5TtRjrIGaxfqwCOMkYXzpq3IC9hi2ClgdYVPpkxYtlmbMsV6d3i3odQGMBHyoKT+YZryFvI4EUru6hjc/THObdBRhQIz/KtLQPvB2+iRB2/j2R67blt1+HkzvQzZrOZivVMnA4sCDhOIOLJr0tJxqJnq/Q4k8amkgCAigLrzsw5HYTfiaMUFYMkxBTJSKxvnlscxn3Zgwsbq6uGOcFqsLPd80TfnXG1bcOIT7n3QyMKUKKUVpHQ8MGJ3GlbGeg3m8V8qgFWxs/53p8TAAwkWilsYQpmYWnuYMc8Cc4Ei3D1R0q/OiZtdHAmYK4uy9BS0g67wOKtfmUAxfQSa6yH4i3Bvau16omlPugxsy780aFR3DC2ljZtzu4x1nCkKWMYd5lfIxPMXiosacPJZcC9fkULf/Krgm2scLD9Md1td0VZVkUeO+wcW2xPzgvwDTUgEYrrTqfptJYISCkiSLygNZ6s2TSaGWYMWWHN6BIQf9jGkgYnSgcRKOcNv58iZOXAhHMDp1TqjPjj1HGqw5Ltvu5DLZ7rtswrUfN3HhngxOU9c/PuYUJXjC64Tf1d/FWUkWd98WCxbvv6bf6fQ87c4YxMTnAy4zsKK6FwMM5+3zGxFY3cJNkfEKMA52dlTnsVLWtGRoogGYDkTD554+hZYseHM1nsCt7bEiSAy/BQGAAURBrcisAIQquvduqXmVy9sB5wsxbhOZhBXYpZsUU/WCm4Dc8akpl1tTZjUEg5T7MAKgvIWiZSyf/VxoeB5OfM++09+72+8Q7Cz/Va3IH2SMLLgMHqMUaHe5HZ7ra04az3x2RsebPpvFepuXFQOmq61xx3wRxwieu48JfJ8qxFXCtsPavBDi+YAlqSIYh9nXfmlHS+ZF7Df0vgB8AyuHl1ut9db/DNwsatQMZ7ohf889Ht7On6lxC64kGhwx7AVUxUvgFe6CvfbpmAhkqy0uTBWRw6/4fzYGSgZ+UnA2cUT4wClnBg8ffHYxg/mfvtSqOm+RmgD+4dasc3C//ionvxodCrz8t8puBJ9BJePEm/RH00a9w3Qi5q5JnP10NvVPLIX5eUK+9qfCS+ET/6VKpYyN0BCSWCyJ9CEF8OQTW2gVZm7Lce0g3Xyx88mPyBN4BdzQlUBBIFfqbH5hxqS6YZ0H7tUlHCDztFLsxHxAkC9p6pJO+gWZW4hoI5E6R9pHfOgNk5W+b6akgw0i0AZFklwlMJXjyCJphJz71uDwAJ/fBK9wUD0V+4NBoPqZ/V/+5Z2Bnuwz0XvhVKC/6mEDK72SgWgRQQUj0gRuARtnlnwSFlOSbanv5LdZ67M78zqEQpCmipksz6Ne57zRbXSQFFeInpkQU3GSIMeTNp+9h1tHkEoaUhgYD+ODS0nP9CrB7M+2eN8W2gtN6suPTpYHP9LEBqiwBJWRiTrreS+Nt8F4tBZGGzk5/NN3Yu0R7+X1Z746yIT7VODIfWCNxIqHfgQAUJYHsTZMQeOvz0BWuWUsxPVKBlQAr9s2Tne1oZdZyCW1XWF4u0/sFnguA0TXDbshSdMeywb4tHsdD6OBX6oAjunWr6LIaepnQmm1xHvhf4PogLTlrmfUDMWLlfqf5wUzSOmpI/AsFrIy/+6qcjs5+pLZKaMzCVq3SfNIBMUzjwuLerqlhVGsslCZONN3Jy2v/ma2oz16C9hXAxyOLZYe7e7dUFqPEb5I8Rs7eZWKSp2gAppfhY4dKgY08TUBtBfwvH9JoQ8we4JDXnDqwAt1RZemoUCRrODiWGAQ4NmXOPJtYoaM3P8PfeUPf/xw/UqdN2xIM8azunVSKR6/Y/HFVMNu3fBYue7Xr2aJdNfUk+3/VVEmp4tsAgxL418OmtWCTbEjetlldoSMGAPpbkGZ50ir/PF5ZTwE/leVQBWYIubSYxpDLgZAEY9vMtgr/4tYE3lqndUU21D6F2gzVh7ebO8h5BdgpZQxRLZCWnhvvaKpB+bkeK2gotoqmBXRv1bQN/UVwgWnylQZ7fiHnAHd3qwOcvDnmUAug/4jVydTNEu6AbF39NHW18A7pEcW9qZOqGPLE2RfL6Ac1pbiixp4RFhflXFo1oS0QXb84Cz9NI6avkn3SEej1KiojqY8tePK5O/hDuKtituCkKDc3vj5jOhKOpZUciJKptYQmEItOIyT4lrFtl6sdxCJEudZZq2+7eY4kTUj4o1zUIF14gCFjtCLGBrfbAPXtUFCO4lERecYmRE1/Z1NEpktOxm9c3ZBu0s/5VxTXuPCKc+Vj7SB/sYMn1svop2NaLum8so13N+kqYcTRls8rOWmBjC09SsXDn9C/LYSm53oZ4KD8wNCkAfacNZDNPGuaultu6n1WHvgX39WTPfazT2o6HL6qeoX3kAaQIquDIDwPd6PZDwxtRLEGpDPmR6cOgbqXmZ66Ziomv7vo/JmjVoZ4oy2nvIqdTuOnGvKk5lsMYwawsogUeDgUjawW375U/MfCDvghu5dSRp+EKlt7F6X72ex6YYc51fohAMP6nf7YEfbG5I387+UdO9/sX3M8bSsIpWPuojDFCzcNwxyxqZ8XfD1OBax3sE1WV6zFpDcVS2NSbH0DxsVphFOJZXxoHKs3ZlFyMffnr1jr5jCAp1CMxO2DiIyDrmoiquQqqIOE1LT3bDEAu/EVX67uB/iQ4ro1E/Os+4NOueeAY9MgM6dOOQv6zAez50UxeovbGdPOH+1/osHasLfgkJcK/S9lZWGTuza9HUmI3/5JgGSBiQMssVHmTvrhP52xhmtX1jTD25oWd4dfLul3S6luWlDi/STmF6nuoqnM27ExtC57qtt1+bUwUcPxugMI36s9mMqVQYZ0ntPVSEbkX4ob3ei5Z9Xul/gGfXbY52XVisXvXOkWI+c0wjrmMn/3DmAXiow1Ey9RwZ3fxLoqGxAyzN4byqQP2wTS8908Qtg90M1fEdBHSs7sqRTc7IBUM4Pg0iB6KAKc8dLuDE6yaCKmwG2sHb0LN3ioGsV6/XMr1OHSRF03j9JDqcTE34oWjGM/9x5GNJ8r/cmozfZq8wLVVT9XTGQnAWr7OdEIJbsMzbPJAUNxgBbmvw2XsGTNI4za+vnfh4dczuxqAMDYpmGx6sXCO6cy6C9CL3GhpDWjWAHKh+IossSDw8SXKea7qQt6OZ6DJFvzXE1nJwB0w9my8fSAaxPl8cm+gJHT52HbjCk5MtvtsRDvp6/3liWBhjTPC8Mrl4Zz17zAcVjrb2OnggUTjIhMgc2fhg7DPYF0FxL6Yi1NevJpYMYuaxQG8YZNdhZ1gG9UUxTIzR49A+r/YdEIY9B2EPcCLi2sTJT6hES550fe0hxUaZV+4MKOF3bZoRvsTwW/0c86nVVmnbA2L0tINren+C8yKK08Jy6t8+SgSQOLRKQ7w23FndqybuD5wU61BdTStsGfqRGu0qxMsaGJ9FBSPYtB6NgmCtSBqgCJEvgbGoOnEm59987fzluS0HbsO9ZznN8SmUBrQPwPfjiXBCg65j/nM0Bs3lwjKYdKYQK1Xy176/tLcgf0ffwNe7qZmVx3CXOXRp0jcr1MGXTqMdng0Yso6l3xwr/SfjsXf4pMQdB3wBXJrG2C/o/bhQBhl7SghGg3ClWDL6dw1Vi5qFlY5NQphSB5guUDpJlWfrTRMy8FjreolmslKpYibCR8iaMvNAM6HlN5AWNmYLb6gnU41lCubsBG9VQBOa9PesxL1h6BnO4hLviwhTIQm7VZRHQaQ33qkcEbi2QGOl1terXzJhg2Zo1MwYWebRrLjVFq4h8twcoU2CItCthAme037Tg5wHWJqZbmN3qhO0iVxl1c+l6LtIjNCOt5/xMk0AAemOAXk3/Uq1QJCQUytHLwfQPo45UMCzXBumvODjo89gf0RAs4IfCyomFP0LogMmyw3lJ+tLzAH4ZhauKLqgbkoU2TogBeQgMYx6iSNDE5Dted92dy4YRzo7RRgeEUSjqYSdznMKfC4Hg3RtfQ4yQbSynqEnPHta3qb4LfdoHPrsQ3Y7sKPQqv0lJLFGIVYM5wI1PKYUiA2ucXXbZ33QeVn/+NG3IqooCKFrloEgr5awHZ4LQDX6Dw4fUsalwizW9xApqiWBi4/fsX/tv1YojGzqASPsANZRSXK33ROX7yha8LurBt+kg54rdUt9H8U5FHZzdCLIFIqbskw6ul/fpVr0+4vCBMn2ikXHP+2CAs2tAXg5MutyJM0T6C2wyzIbepoiBnvAB2qnbgm1tirjCfzEBKN1E8WOLrXDGAiPtxuJNdH9Z9KbTa5gG+n5+NKcJAbsVkBPP1gK1Db4skw6V95WCflrC4P0x1rxH4qHwRYco7HWE9GtP5wNA14i9SEmy654FAxUQE3/zdyI/ySHAVJE7jYRuBofowQ6J5JqEYZtL8YbnlC5tJpv4Ix4SQxh+EojPDjFynkN8isc4IsN8kfQHHRA3y/BeA1nwjY8QrSoZLS5/uio+MN+4dizAzpzpWRbnxZNB1DcEdVU1on8prUfDygQDCU0oag8HNCBRBzOu15iQ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24193" y="1243330"/>
            <a:ext cx="8821102" cy="548894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Y18 YTD Total Spending (</a:t>
            </a:r>
            <a:r>
              <a:rPr lang="en-US" dirty="0"/>
              <a:t>a</a:t>
            </a:r>
            <a:r>
              <a:rPr lang="en-US" dirty="0" smtClean="0"/>
              <a:t>ccrued basis)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Capital Program Update</a:t>
            </a:r>
            <a:endParaRPr lang="en-US" dirty="0"/>
          </a:p>
        </p:txBody>
      </p:sp>
      <p:sp>
        <p:nvSpPr>
          <p:cNvPr id="8" name="Rectangular Callout 7"/>
          <p:cNvSpPr/>
          <p:nvPr/>
        </p:nvSpPr>
        <p:spPr>
          <a:xfrm>
            <a:off x="4529664" y="1421721"/>
            <a:ext cx="1202267" cy="537422"/>
          </a:xfrm>
          <a:prstGeom prst="wedgeRectCallout">
            <a:avLst>
              <a:gd name="adj1" fmla="val -9824"/>
              <a:gd name="adj2" fmla="val 70359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i="1" dirty="0" smtClean="0">
                <a:solidFill>
                  <a:schemeClr val="tx1"/>
                </a:solidFill>
              </a:rPr>
              <a:t>Capital work complete but not yet paid</a:t>
            </a:r>
            <a:endParaRPr lang="en-US" sz="900" i="1" dirty="0">
              <a:solidFill>
                <a:schemeClr val="tx1"/>
              </a:solidFill>
            </a:endParaRPr>
          </a:p>
        </p:txBody>
      </p:sp>
      <p:sp>
        <p:nvSpPr>
          <p:cNvPr id="9" name="Rectangular Callout 8"/>
          <p:cNvSpPr/>
          <p:nvPr/>
        </p:nvSpPr>
        <p:spPr>
          <a:xfrm>
            <a:off x="6595533" y="1421721"/>
            <a:ext cx="1346200" cy="537421"/>
          </a:xfrm>
          <a:prstGeom prst="wedgeRectCallout">
            <a:avLst>
              <a:gd name="adj1" fmla="val -16186"/>
              <a:gd name="adj2" fmla="val 77810"/>
            </a:avLst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i="1" dirty="0" smtClean="0">
                <a:solidFill>
                  <a:schemeClr val="tx1"/>
                </a:solidFill>
              </a:rPr>
              <a:t>More accurately captures total FY18 investment</a:t>
            </a:r>
            <a:endParaRPr lang="en-US" sz="9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457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itments: MBTA Capital Program contract awards more than doubled in the past yea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 smtClean="0"/>
              <a:t>Capital Program Update</a:t>
            </a:r>
            <a:endParaRPr lang="en-US" dirty="0"/>
          </a:p>
        </p:txBody>
      </p:sp>
      <p:sp>
        <p:nvSpPr>
          <p:cNvPr id="7" name="Rectangle 6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IDw8QZnT3KVLgIkmA4yG66JwEypn5lzF5ucBb12zbJgKWe5k2lobW5xMIAmT50aNKO3ahiyUhgA5eirEoXo0GsiwGpDhe60zSoNh/5wo7B6T8GnfgnCc+4juO7juVVepqfbJeEx2q2JU9OQHf79QY3ta/sbCYkLmLHlDQbdpMO9dktbtexHNRbrn8GgrUTYDK9jk4PvQ2inmTBG8i9mWwJQRz8dNXGuAW+D8NDf0Mjfjd9R0a/6peqnHRJFI816sBSmL6tbLxFWskIpVREMidn3HXwXHsmAmdA4i5M8qNBHYpB/h4jM6215RrC3TMrGPadcT5+84jwja09kBCpKC8qT7FivuRNTXRxnLMluGeqRkwUhFtnYn06blzaZRaRYn2QHv4mtNy0O9DEZ/l9XkyOnluUN5i4gm/CuhiRMSisbXIRvUMP6hQ4vlVujfejEMoLfwX2Ip4YjVDYMUpRONMV6BrNQIo78a0FyWFeoxwKnLbqU0ruc/+e++NaojcQTdF7YEJHJT17WXl5scGx/Xlb+GKWRBvjonxd25HZNM92/vMPEC+F8p5WWVCENmY7hLAezUwRMyLONV/7uECnV4vNcsjjVlAV1ADmwyfF+ez7Om6I8yCkcShy/JUT0bqEor+LZYtxHEUeP0k92QN9iQ+dwNh/RKhRz50DPHQdITiRrmBx0s+ac5KwtMrtkXkQ/YZV+MN/oXgkMOW9grfjxIWmSNfJgPx240NvUrhSg6ts+T0q7A752oE7UqoPK56D48OpYO8brsNchyGZJq84Ja9PswexWQggCP31TJl1Y7RD9br4lxLZj2yKx+Z1CwMYNjEYKIoFFHgE5BfC7Q5TIBkmV2Ap3cPtH8BcrzkRM+GleBpZc/FhjJ/r6Sbb8PKOoEljlWdGHQyKqYC/HTZ2JUIc1O5+qSjYanbZi6NNrToPIx+h0SrZRvU6LHpzsVuoEQZ7/z301RGjyjxMu+Aa7cXaU6IGNjUEU1moGfG2s1OS6iVs/xWtW5fkpBdXkmHN1DsYyaqhLPefKkvdUvo9YaAohd7acnsKv7uhf7t5r1ib59UVkf0l9MuLh7tfplhh8Zh83dfvAPKl2UPMEH9mABrt36a2/i3q6WbXzhARKGWo++9fcYMfROhQwSiZ7550FPmnVBDxHXK+Jdmlgjc7xYXdngDr1z0YUXXW9C2cbU9K1k/DiWOIxvWorTCZM5X1fSdw/0oy4cizz8buUPDeAkl+9k7H2SuAU09T6f147unlc+UspwekpYvwEedKFX8+VQHUnU3rlaxjREV03Xw26/cjQglS63pCuDFzkrBzuY0Rd8CyQH3/yuQ4rTZ0U7sFwt49PkjN+QjARAe7B5H1QeiM8Lyi8Yu8/bv28eUrblkyjVgoaBK+9avZ9xfNqiJwgaePrnc1CJpRHKZyDH8YwiJb7z6Q1dCGPINssHj8Gc8GcHqdP9l7AHeb4feqSeGcCMymf95MUsbVdbYVl4Ipcdy/TS+mscQ9eaBthdCJkmI0IdNKtKwyjmvWoPSZAy9sh1oBTvtBb1ulql+6SRSxBZaKHMS6EkskiE4qUDcTr7HTadxDnQKVJ6bgd97muO5WJAv2U9OnHPH8ZWa0CzFTJGeBz7KqQcqODpxR3zM6QQH/0tyYlz0Jp0RVpf8UdyhXH/HdN/4dOKrEf+QrMIQoa0TVtBUHm6lorTsvH05SkenkKDCc0yhg8cnl+OH1BlEBUnk46AQgtG59HuuGki2VeJwmxE5ZsyglT9mjbPk4k13ydqkMpyju62sm4ts5ZAt/yZHEKaZ2jv9MG/iGqSNh5UZ3e8/zJA4w6S86j65nCaPgXps4VBPenPAE9l1LKWW6bxWxbRR0cVDtuFpo5mZYbjih/yX+SRtm9KN41hGoqqxshvDpKuklqVMQcQr5vgkIeMk96YoWKMDY7NhuQm8RLMbJO4SxvL92tdZZSe9aBuM7Mfi3+xkplGlBG1hXpyTjSyi5hC9eVu2kE5BqMvCUmP0m4zL8W8P76m6ddj2seS4q0H8IfRLKYRnQco3exBCmIvSa++acjdkPiyGnLSoH8XBl2YMFCr+VI+SvPAk9HT6mEBK5640WzM0kmn+FE5R0cN8dDB3D7pzW9PmcOI4shHBpJsYvSy9cQGYYeQwPAeTCMJle5vu/ivPXhQleyY5okJ4Ucw6fS8bNkegE2et3NFuwIiat/ShhLVAGZNW7fHpWOBA4BUTFGi2ht6U33AuHl5ci8atij20liSmei0m4UOBNq5PnZrjbcDUDYqpjt/p3bfLiMKsfmTNm6zyJZDtixvyjCtk03OaOZ7lQf+0JQ6mO3+3t6+x1iZYy08OAaXyRCSftlQuTJBGDxSEzbOx7+17FcBIYbPUplXR3g5HGY9YXUO+DAQRGU0w8+Mg5y1tM21jOpLkmkXSREdhEVNZti2zaos8NFXJG1QXVROp73nWAEGcxWdRglBtLRDMXMk/qQ7zcbGUv3Eq2Z7xIndtre678vt+dvWbI3I8lBWQQSjE5NYr8oy1ZNz5cAJr38J493E2RIIrifhrBwcSYGW79yxHe0LHtTADzcOTRRcVlhH1gQSTHBC3Vd23NZY5S7NxjMqLrQiIDKAMkAaiFXVKNoHDTfavYLk9m1L//DeB8zRG6xRs6jTMy5KU3PVyt3m8JqNw8Jf7XgTFo5gPrB4QdLHfY1760bY0njWIlhDgspWF+NlIRLMHhtuZ2X+y4jhLdollGUVlM1xTlWf5fZvPBUOqx5yyVT1k3t5QxzVg+Vjr0r3B1yXmhLtwTClMeS2lOhDo2PprbcShKxTQbUJ6A2UIA3gxh9AaDs3K+4lXI8Rem8sC1OVrcU/ZCJYilAqHfxO57Q3jReMVvIzOhgYj29poUTwBJaZBsa7+Qkt4ICmZM5Q7FXS4h9GACPFGQIGR+1iDBWGlvbxEG3VrLf8lgWV9l3hHIpwbbkY5F7HrQciZMGVk0Rm4aJrjKRTeebfuw1choTm8EvvNCtuBVx68ua0/cOshBkItDEMahxMiXulimYN8/iEjrAtk3q280ob+33JocWwOORHwSuOvvWGKtPBmx1j98bWZfTUc1CzyNDdx67p/Bh/RL73QxxXh7lyNDFcx6zO1C2smM/Ib26dZCHi/SipdOOymai88poFbhv4yq+/obpZpTbLnYeB5KAFE7x6Bmi+kTzxRrHl/JGEOjB2BtAhU67QIQHcRq0Fz7VNt8JZR5eTwl5gPBPhxGk5oE32LJDZXqPFFc8hMhOkz1oVnXM6fn+0ue8D6IPwXyTMXRDRcog58VcnD0nSb8OL1yxmQoKfJ7GwIyEYB1l4znhkQ/lkE1B3aosU/+rx4BJAf9bPePkkWBNshxMgFuyq0qRhgTcGkLDqqOcbhHdSfUQeQFbGCNMyO5I+/PeLVfLm/NOO3dOy5gAAHucngEOmJHwiJMpmORji9pu+KdcQux8mcnvqPk8hhprd3nRJSBygmDtQW6Ckmwh38Kkk+qhfWjxrSbjFr0Px9wc69fJdcam5jm0VAPl0fGgTEDefB3NJtyhOiQkIca6jhmBnI5fbkVVXy+25cLvwr6Z/IyeYHLK8GjTZl0QCb7CffgpCnadZz5OhxYCI2nNZiZi1lJ/qoOttQbnNRFx1z6v/H6vjtmoSCk4wKxZq/rdi82e2bn8dDh1JbAw4Y7I2hfNz4Xbl/9OzivHrUohwin28oY26Yta6LLoBDgxhfq1iHHJKyOg0tVgrDw43gUgWoYg6bPq5/6FjAq/0n6TBDh7Z9HLSaeEgLFf86yvVBZvXZH6vXI+ji4ErX2p850o/lEOX+UUmagK4CbKpSk/+YVyuEUxA1XIwUxJ6rkLBNYZ7jPk1wf2RHrKJ/wYnOJKm5lGxG+58yRV4ToVWYABxVRAxj7xZ0mQkZ9dVQ5vGFJL+IC197wuVy7MP/E7W5ty8UQSD7WvG3ZH6tygtYllSC93K1a9531QtVGbCksEOas+VrmXsGToCNG1pj83Us+JehGmH8elQFjzpWXtxAgFO/F5tR9oYLHghWU/SHgvTd4vssudnYOpzEEYkeNb3odNEbpwitm/6SJDFT2Oa9Ulwf63wmg9cmS7E9ABLI4+Tw8thcfUc0xZU9fAAqGXSQfki4+c5EyBtWUeoIeFBjCu9I1PNCobFb39xGPTiz1EZRQOJ5afnDY41ib6xlmQG7jKNPmdqpG+QwrvHx8em493Z5cgiCv25DPUViZkQAM1rDd9scGHB8Px7/W/EEYmLV7VlRaSRYrLaVrrB4aZ28Atn8DSupiMPs1Cwz1q+PYPTzX66pOFxeUeOzGrnFXnwUg9kZWGnBLr8ZKqZm3dHa+5+vUiNyYMmn0HWjJnTlBGxqLrJZhsx1ebRGel+oRa4uEVjykCGkp8Rv35qdtPTAibjvf/Eokh0zs9HchdWC7wSW7wO0Nq6ZK6ZoVCevFAdzuf36Ohf5OZAtvGADkR4cWj0LQw9mgyht6qKlpxySmRqjffMJll/LJekYcjvI5+eTPgzgNoCzLuaAtGjYSPoiZEGY2cBR6Uj4jXRtSRBOs3BW0saDDQq0CsC+aBQPYUsi1rrKlt8948bPgUxBRf6k44OOh4eT5AJr1Wz08YPB9EAoBbeOj22G26VOZOISHVQo60rxiccLxOGDAQG8FmtECtEedyhFx/Jit8QM5PNoH0VwaIraQh3Yo5CkDvM6N/n5UsbmVTcnADLAGAs+OBJI+8T2O7ehNH/UX3Jg+Gptf92EqdrqIKpOMH1YKJbFtNehxbQiZmnHpoEnEB5KyPeKR8x4hWufb82VBH1cgrFdE5+ZKihVvnjRY3OrcIzoq7GWpYsPFnzH6zhbBq8GbV72ZwHD7+owSNeVCxfI/H3lPhzuA5jU8PIKRriOUgCfFllBNIn1mXGah+ouk+2QNCZDA4mCjMy93lpmSacpjrFenjXsRxcewDAo8bmSEW5nWa9lkejNgF/BUGsTya8/JrPASVXRke56hRS0Lh9sZk13IGAW2f2sur/DmfWoOGCum90ObZnT9nj9FmSTHYPNedrq0STVbBheG6Pbd91ocRhJvS8/2QSrawosGKTQ1pU53eiBVpm+roHq4H5/HtU1JY1Vl3NxAwqROB1/Jp6ZxahXYrSISXF+8NOUYqSvW8YvQPa5AzO6lNuh9zqIE2djhpSywUmT1GvTmq7tKFLaZU9KwuKmSTWW5kquUQDiE7nZIfg63ZcHWog+o0DnPPuHb/Un+LyB1QG/WBhISQn9316dSJF8+cBseDD71lMt3XbCiBW5O6+7wf0jvw/P2HJC7C3f5KM4vsC7CNkJD8XXc8J/YcG17UUu8tI2NrqwnQLx8Mo7viDurF20lBa8VoY4SXJS9QUgkGKYlR1jpZqfcDGrX6sSkVMY3Aw/mKalpT/zoPgvXjayig2OtDfrTVri1VR8/lmhH2BWiZPIcHE2+J7n709Wfle4/oWGDYUMGKMKU68CeHZ9NYwswAs6GUutgaBKI9M88HL8YhwxGvBKgn//YE5MgVPiamzBHXf7AwBsAQk9cjPLi17AQzLectacS5GAdK0RpH8I0TX3uNiE1pBhjrbxvn5Kg19bWWOZfWtnMQY0/KWFqClsGpGf2XN1JpY0gBGAgiLHrsVlsm05zWe09P5Z893GKvag7GKoTPnDpbJ9aEORJ+D3WIkbXZVzlIkLAI3BRC32qzjQe9B7t9molH5Qu7YzTWVKQkccGlMt3g1TAn3v/r+fq6rv8gIbtnfnlhovLSJKgPNrXjKjSBju3oGYOV6b3dap1hSIIFGnNf9aW19B2IfSkdenbw7vwGsyohZXVTquSGs7XYF+BksPnhyvZGLfwv5q+P4XOqyOy4KvXjgbeM2CqUVpPpnL3piR2RSRjzeRqt/gmT4TfC/JEGBQ8O9wNsc1ETHoPx+EtZNoeE6RMS46dEcYiExvEY7PC65Ed2EmkuGABJUMn+JB6WQlYt0GYsA/9eTVfp5aaUrsO4qLOFnIY3AGBjneizdU71h8mw2XnTQ/kEG8+IzKA9RrE24lIuxgDLzqg8wWbl511yjD40Fm4xL3dBp9NlMtcpbGyh7j+ohNHbzQiEOXAhCp+/6bXSJ5OcBLoIHstDpeFnu+BecCjtOVNm6IMOLqIAnsOAOmcWWAqKZ3aBQxw8ynBjUvjVYBmFPpO6y2FyZu/zGS2+0m99fjGMyJVZqMavqMsywJgv5hL9+C1nqlmc16VAEowwHCIVCqhQmyAS7D3PuybXnOUd229AklhErdfvAUeDCjcMG2q+/7sy7Q9cdyRY5Y2r/y87gP8xmP1JwCXsSEprWtZsPxsaf7jtjEJpSkLSEa7yRaqgXukJbOkWtXMf4/vmiPMlmSj5EnFbBd6hxTdrnEAssDKFLmBp1s49piuG1xb7sluEaIPF4vpxrtegnjFAVi2wNA6MU2YpZm1agAP0SL229OvXbqEQMeaVq7M8wsSuZxAeR82ZHQE4npM+loqJZV5kyGscLWjnISbqVmT+yHpXbkFcc+4ebHdMJMjoJkvXpaUmQopJnPkKj5PXc4p2SDfBInpvdA+HDP2fALk73IpOJnp+ufuYeUZNBJLfQmgv09/tTEnFeKJb1Kst72II2xN4iK53+faWrMhPA4Y8X6BWCsfIsfvAm1UIgTQunwlm2sjc4Zb28i+Oza7LxJr8oVMV9Ohs+u6AQCEh5hUsQoEvku/0z/eCwx9q2ywUp4Kci7emxlcstwfQ+v96NXYfjzEAzr23ckVgwkkIwY6Q6oAX+/DoHIv7PLpMg/1vHVigfcSfksd8yJFLzzcjQV5QB0TwAn8GRG11SaGzd5ZpXVrotWTbFanuj8f5Et8HosaYiVDvBsVMjJeH/dnp+euJBbmEmTh5uadkvfBDhtHOOS3ylMZzd6LYrzaZyjy8nHOHS/H7bzGvBT1bpyZ2qga+XAXu9UvqYOvMaGWrhlZhChrv+/A+PMasVdzyKSsCeCnQNUxYkRpGCGiIp+S6cgldykD49xXRaJExrgEjpBz8ZABXezV2SuhnscqKuoVVdlGaQaamKa7QCO4TwapNKx/k2hzbqGIEzCq+4onhjdDE7pYsk3TXOu6qwHtpqcwaYgnsCwHm12LHblBIXpRe3ngJEQyrnPZqlWr3s0Izo13lL0EFje2Y1jq2+2lLcAZKgszAVlH2qphrKOSN2oayHBwvE6tuHDndHO5IqDLKqhvRBu4nR6/lcOQqZgrs/xxQQbP2xWlB02371ODXctlR40s+nJpUH59YOc3dQrC7K15uCOqZdMxTLuLAv6w8V5L4jcd9g9WBNhVlrcVD3ha+H9VxYdWHNdOg0thmUTMsfGp0wsTwLcXveaHWf0SR1jmZhtqar6UddcKi+8rSpB9Vyzy/tsGWKu6YRu/5AUaq+WK1HGYGN6hUrGjUBzHyU/hZV/OnvTzVi9cAcenvgx7HRVzhk0YrvqfxevPWAmLuK0MivvxQbF5frKhavZgU+fFRGaRQj01ZeRkWCiJyYDKAHUsK4i17J4ButInRcTy8aoNFtl4iTYukSOR7DS2qc7eGF8cVOmtHUDbBVfnogJv2mQzPa9kCkJvzFzI3pYw2idxbwxUhW8hZqSrm7XhRxh0aunSyc0vlLmA0YA6j3d3xGU/hbeBA/wuRw8B3BzmDJNE0kJNfhLKM791mVTm67wvIA1ZwYcLFFplaaJNGNg+5g1gb1xlRR3fagubr66sea5VzlT7w48LnypKZL5qPPExafXxVnmbeCrdir5t2z9xuda6fn1OWoJWVBgrP4HIoWFDjs0bBMoi0ILfolSXg2YI3ZD+5FD+Tcy0mylkcF1Fg4oRvgNjRoO1P0NmwpkSY/LxgwaGAYkOygIaD6tOz1hSO6LpFAXm+sjKxXtiWUj2ItxcW3LQ5ys5aeiHNtFf4SFe3mJQo7Y34bmitnDq938BBKBBBQq60UJGK15cO8Hrz2KGk40DwJrBs6aIYkJ302zZKbMvXrV+MaRrtZVUETESpsKVH3NAKJTn+zG7Yz5KIlbkRn740way761QXiB3UAi0YB2LzgrXxglQfxbLSf4QUXyN8XlwQ19ddYeQycc5Q/FhaMYCUX2clUzLNds2O9OjwUdO7CXnStcvwHmBWjQCPFz9kceB6TRvNGA87FSxCn31eMfSumD/3p7xYWS5lWiNNVotWJEdIN1aooC1DuUOVboSPcOrg2zKObWP58JQOhtN4EjYfIHKlEka8NjO2HnOY8xIz3pmUCag6A+HJcEMMJ3bgpUJaENwFtauTXu1P3K/f3Fh30iToQz3eGea5z4IxEihZDSj0EjEO0SbBG8imQW1ph1kbA18UF+LFcBptMZFZko1SJvbkG67bMfFlZXVslKD2kotG1E8pnfmEcrrKstpd6FfFOqwU9ZLqCsZvgdfd/nGY8+RdxTNW+oHMnJfPNqqCM/X+faEb4KjYGBJoKApj9TBqXCnlua5KER+ImefH3Xd8cYeQxdqwFLGpcytUPCYSuySCxCDtHx4H9kyCO0v2tlfON3RjfqZcs1bLhC4cW3lgq6XZUiNmSAp0jQr4BSKvJYBege9yKQKBZ9CoCpl1ooi77Tm5drB2/BlM1CctGLSVXbL7BwQRU8YZeMNAjC5mysZbbWH+PdvNDPAsLgk111y2OMP0gujnjiBSRoYozRKs0QhdR3vm4X2QNwAKpQAF6Gg1p7EwdTjFYBzJDOWoeGO4XPzG4Q5zDpHzvMEPnD8gP5z57uEcmw3e+8SSlEzuUW6ouUq4P21rGQCf+EAjt+IaMIMZde4JjQ4mj9h1W14OXlxFico6AGZzZer0yYEcBLgE7KwTMZQEXMu5X5uujfVwKLdqq4sLDv7E0j7Vcz0GzbcaarkzHIlf4wzGR7W0PlOP29lkgl4xU6Xwd4ZhNiUKz69KiRHL4K8X+NPnWwCr2pFHS1hm0e5WsAwriv9OE+/NqRTuXr6JxWfVYMJAkEmISCnPzBsI+dB8KBELA58DfMlvgQ2XkcYKWdGB+sMl4NiQ1974XKlC7oSVdKSRjx8akxk4YU3UnYcozuswdgz4VcgSSEZ+8wxPW5t0G3engy6LVf7PozuuGQRbgaPLE00ghSsOIx8yCfYE7gqZRGVgyIc/XI3t6A5u2n8o3lDyrqkJ4leQPqCgLozua/lGhPw57CDxWvm/CpkFv2BY75d7PRfeBRLin2RHRVtkZT62GnqiXtz4n2oMaer/neBksIo0d67bBVRL9lvNAxA42HZGLMpQ8NFcTaqWtGM/GdjnW+Y/C5t2Apd6rIa0Drg7nxTdZ/YGjVrVfGD6/jWkwbshdQGQ9SBayHEwHYdQRgkHbvsEwKlhr3QB9qfi+SzUXU0Hh+NQoRds4tiUGPtZEYrJd3QO3zan4rtjVIbBcpilF/0bjzhCsdJYXoF4F4SbCZXrC9LVRTzdi+gwnvAlwTPWnEFBV+VNal+pwRmfDkXd0m7SU8VAv3F296xXS6ht4cn4xOKb+H/Wa2W4SRAG4ZfwpZVKx5MUKTuL5RLCrYYWOZpZ747rQvdj/YycX+NcPWIhMbZAejvEtE4hpKGkl2n5P308bKpqqJeJmSzgT96c2HSnHTowKTusGR7N//wnacHZtAO7y9aEcQcAG2Cj9DLVC2yEkf9xHetUkyuTDgWInlAXKsl2N66Qp205fkoDIxwPHTEsvgQvGTCZXyeCjK3BQsCri3Gpl7oInZRfh7txr7/+QYDNGyFLDfMIg2TXmj7TCQpkjauiAchEF211CtRWS+RNIP9ehahhAELLTM7SPAP91pRwCGwMAGoLrsy7+JHpuD8AKMscwmMHN2pdOsMsvEFwMHV1xU1Zgjoe9dyP18tOa0d24XbyI94KEXn08w/Iai96smCmFjX3O8mgMdCP47SsNlsKnOPep6v/+ABE/EelbUQKoaFs8Idl8+UomndMnaopqGLaA7EAk4/ttrO/m3Tl3pR/fKUPkYAIVGQVH/xIZkEsn+t2VK2DBY6uVTGlHvkeIDHvzW/urLoZhtoSVpFcs7UwslV8o2xDOowxBHOYeARVU3hPe+W9MQw4FbCAwNY2DwpSGjUWs57Re1QWnIF/pIijpsNWzD3Eh6rDdEwDNaAJ9lqkmmdW3UcsrBSgRhvU6KQd+DYFP7rJ8dGVxmdUNkRyBule9VvDVVa+mgsW+jpAmx/bGkd//W2DjCIqAkopFEi2k7KBXSrxw9YcF93IFnpy+v0IBmBTu7pjK6k6impyL0HL+VpSGp2E0u2VgmyV4YsiDGHq4tIsp8pWnc2KfiBmELEp5glH2Uvt1MsH1H9BjI4XQgwi+xOsExh0k+WYA4Hf8WcLqZzlkspjfS+oyMlm88Za9FdFnS9L3UaPxc8fQ6+7QQiZo5iNtVqB1R1/nndA+OxDWXa0Hl8DFRGsN+diiMEejNp/UdnNq5MkPxm2RZuD7klvwzD4zac10l+Z5uJeFmA8J//CUOO8a0PDWRTbGsB3hSvOj6uYHCZkwcYMm7XulavPGQ+VwvwkDdvK2LAbLjkyi7ySrUOWUXwXerb/e+eYYiwoKFP3dCBhL27ighG0naxYIidSg3aofKmg6q2fQAnB6lhWzdH6kBEURnaRxgr51JXlEX96yz6uHrsqJiFaz1LkMnJ7rJEBdzR5RzpXoQVTylZPGLKTOow12kfWgpxI4ezvNZDzqEt+Rz7QFbss0d7sywzim0iEoLeW1Z0S9p2tPZc1Vc/ymhxPsRG2r1NCSUK2ARe7HfZMwbiOU4u30SnZrSj5OAXpaPYavLpinB0EyCxBgV24r5nIddxf64XZjTgk5C5YCPCEvnE/V+yZeT5TSuCph776fPG2JEXAbgRBS137Ipanfw4pzAVb4nyo/va4dIwuEzJCLBzwBt7BjAGG0dIQ8JZ3HJavoTlewiuea02cFD1XAZTprXpnJL1LG1ovmtVneA8s81MTMhLRcrUKxT/QZpcz0Lxl9SedC1D6qC6IJi1bB5MNf8ehi+Nf8hlqEKTNn49t32lLYtSD1Hrlos5LTCJPL5cEvvf11sL0IiZIJ15dRqHWQ22L5MPQlVhWyYtVRlJOGd9ukO1Aj1azA4PtFK5DzH0OxDVYRiIOph4fArcyDizus4jY2ldvXRwEx9KuBFxpuzQro36gj2QfUMcJz0hRNPAMealINYvJXmF4kF+iOXnXSAxItQOjjoqqtAMbiB4FhI0LYc3KA5lXsX8K9TFAn8jFuIEnY/ETsFsJB3ohaVd2CTLTQhtKWvg8y4CqfhI3O9xzc/Igifjyciv3FN0E8e+emLCml3fyOF6NyVwCMXrrp65JFlLq8KktSaUk5mXBim1Asa42lrDCHueoz937HThtDar8E5NmWvuSY3/mpDHIxbqlh9mKPv6MC6VqTckDUaUDDu9EeJfSYnwuJx8Fnt3FdeAVLMJRA/Xq8ENfeFP3ao68/Vjez1XfKibB7+Q1D8KTN1q/VaYUnss3FHXGVcSo85fX/w3jgSe51p6OMEquLqX2uDrPccHGZy9JURhdPpB0aDjrZ+CkrS8ZpALknaogn+K/BAwfpoRvktJks0im3U3tY87rvSHHw1gI23QtL5fZ9yI9xkH8UBwKpjnCe95k4hzoRfXpAD/H0stOC9qk3G5QNEoVzu9Cg/XPXFzAUe9uccPdBr7sOTipqR3NqMqiBARpAhGPxVbEjSbGcSiwBOV2CQ5pAYlGYU46GNri9pqDHvFNnXFo9l6w75jUsVTUgxezPkWoKdT2yfY9p6007CDwEgofvGabEFVtXuwfNeRP9k7oCZIWmrSiZevTHIfcrbDPhaH94IS76lFLYtd+qMK23LcgCbNPVtHfTXSaDrBz/3OmHQV8qd2Mb2LhRAVoH7g5fGXGhqddaR2cORvY3wxGw945cuLmR56PVhINJQbJqrKXM+EUnMH2CXxXDHcn9VGqfA2ZNTOY6O0wZwcV3wGZKlc3kSI9DY/wbu6PyEvZtMuDMViSKXC57C/SiJ1g+CfjUYA7/WfCYMGD0KwzxXpmoY0/wFiD8s88MSV6ZdiNuOlFeX6NC2OUu60WrcyzLutvBCeqjIWek39BbJ7rN1g3v3Myz2Rd67jpj875uTpowOEaQL+eDrcd6C1KRMjlX8vGnOfaV27P7L0Z7RuzetWgtQOPq5XiYp7yW/ZNRAfACSyuPMxfoW1l0AnUu0gn+1nsPJqZYqI2t/CRUpyh6HO3cy3octmxBByXT7iEwop7IP9rAUYAFEHbAql+iZV1w1UnWQ7HCBxMZmNggfmI+Ka5b1fhsP1TBxLSL1KwHMwuaSD383Yeob4de1dGrXqR3A07F/LDaz4nMUccGKSPO32M91jiNvP1xmKJr5736OXqz8Skspq7U/VK9qHskY0kQJqRti/qQXESRyxza3/ZJE+QrFUAx9h4rnJV0LetI2VEH0AcdOVgSJ5vDUFr8PNpnUdK+Ub46/IyPrPjuF+/VAVtCm2qey3VyU9khbYQKyBEt3r/10Tl9cJN699ohyvGPMLQUJdyFlSCPKnbtKn3FpsA+SO6NJokSRYmWYXFo2+I5z1c3nZCAlZbbdW2l3gKr/kFFnFUQxOperoPXTBy4YQT1yfA8ld0gPcacFY4d6OtHmV4ikWQVdugSnGEUJCXeG4agJEomemOHQFT73FK3s5Xu+8Rdhh3MQkhyebwKhJ+15FDXWYWwn02xYKqhmKjMEqloZG6Iw27VG4w13yk11GjEPTzerV6bl6I7Rx/rRP16b71QdIoJ9xIuhR4DVn1+jRzEYxemOdViiHa9nhGz8rd4Zt4Ijr7bsXT/t+h/4qyIGS7de8uaOLhC4q40XpE2NqmeBGWjKeKtZDx4zRCeOMk8OLM9Ta4Yzw8cb/FvQ6D7gtr0dHHsZBsCFY8mIkJlhratj5ubjsyq0KezFAKVF/rT9ebPSjsDP7QYPN00jrfNr08bR1R4cuCOBCXc2X6QMlPh5hoar4Z9PGmI48fDODajyw6z2UlIoGy9rtl5wuhdiPHA+LwGMUERt4bSU23E9QhiSPZ35zFfitLvCRWvzGrpc8zfbz3Bb27//BjJRl9jsUdSInY03tbRf/Gq2NHmmQRGAX/sNpHZ2njO9DdQNzuB9dt18qz3EH/hYSF6asZMLN712D7N+ATekpzUcqfK471sSdHIUQ5iMgFZV0tJvTuz3Xw2H2uZPq4AT+zOtXQe1X+kuM9iyDpT2fWp+7ztZN/jUwOhxQWkuEOvg2oDn5xMxFgpAMETBAyZSrnHgUBQFHs8c4C1xdE8Md/NJRmFf8PtJXLDy6F8/Q4PJZSPilg37L0N/eZBlTHq1IkiUtYcaD3HrFNtM8bGEtrZd29tVKCWS4n1dOau8R+fyyTvSfHJ1IJ4H6CVeaAsVUCyHpwFj5Bwbrur0MhUMw3VXLqo4cX5eUND6LRM6M7EIEhtMPVfnMXKCHKeW4yKU6MlTiOcwAA4fdtDx2Oqf+xHh6VNmSz9LKWZZETqntdLRJB+aRt77tW3KBQbkoMsLJsz4AddmwHrEq1OFDcEzmrG6LBEiJ8igo6qJi8c2WMJqH6ZIwk8RAdVCS8tKvsmq8GAkvnKKzVIaIIo031lR1P6L61tpf6lPjw+AhausmxyqmkgRsz7vPMK5zbN2hildn4k2Vb1OeKZvenmvZGWPJAIz6mZ8o/GRHxkaIoC416fgp77ieHChZseH7NA9bHW8GreiUtbTHeQ19CbZnRoCoPFvoRDKWnrxxTznyxd4kqxnE1iwMOsuhG3a321IM0dQ5aD2DE/Ucx9XeuIy/75u2I0vM4A5tplhjzlZUZpaLhhS2RYz7nzlauuzv20fUUH5shfgNikHoqDwL47iXlMT0DuabJCUiu1FRR/ci4iHbI+kY8Us2MRduCgtrVVJ+zXT5etinFwv1sh23o/pZxow+6ES7KDrikDsprCn6UIZ8HRVd3ACAkaIt7olQwcVTD3okrjvPbMxFfxV42jSDdd2nqbdtW3+MBYksovHudZB/bRK2QTi9odWNrE/oC3YVW5oEH1/hldeA3xzAPZVVb0IRyzb6dknKatfY8BCcDGzRxkBmquYyxspj1UESak8pS/dHMjELtDEp5tqEq8QG4HqhnFOMynp95uK7PsNm51n2i35xE+ZLWYBfSHI64jzrLrKwQkYX7KE1QTwqTivH6IMWASNBgtUAL7nblnqwiVHU3I2/VFYBysBTrEm8xNv2utDaZQiPS4vcHPaJZybD7+XH8gzM7Aa/EO4ZDBhCawcOzaJrGxC8sGsK+LoPeGvmlOtCPoK1rSqJpRgp+7LdelqmXhx/+gHK+rMoUNBmlHaEFS3rjGpaZ/BUPe/HRJZDWQtEpzSUc9WM/FGhOsa+5qCNhCJlyT3Wp3UzbBnk0zOsL8YKUNVOrsFuVttEGEZP0rq7T1Zhaf+pkAEO6GryKU7zMutWLgQamkaB90hJftwFFFwXbOcx9c0GdDRSDvtdrNQDcfXphWIpQ71n/xGwfqTpo/u/T6OOMB83MzZkZrqlcuHjJvjo47zI1z9o7lQaObGzQcU+YFBKMqWlmcA4Bw45UPRHXKgu+GLctYYHoma3UnfxwMZ9LcYz9a7PB7S/hIoivKBEAN5k+lh3b5S7TDnF7EUYGAL6oxVUuwXpjjmzU+NuMIQrooB8hkVy8wUYBFfpVoA+aj9nZmC92udqjpjlYXrZ4ZO2b5x9uqoyaP5AoWVhaJIZqAxWZotCgZaBsn11nTSOd7HKqt5jG1ZE7TqWrQ6f81m/S4detFL7nEJUln1w+EjONRWh8ROH/PAMyvpNHuhHlv3+tHHIg6X2z0gWn9jSjt7a+LS7l8BVRnBahrsxecz3unisFHe5UPVbHGENz29L/+pNPtU3KZJ+SzmeL2EjXhuNeXFV1tJRv5i1+DZulksBEfi2oafBFOr6TV1BFWm9qNhptdvKj7JvOiJHDMmB5oj3NAP19r+QAZR0PfNg3NeI0I4mUagOwb3O60CplGx8ZTxcAOT1jRr+MCljO7E1cxrPWwb7woyHzZZrlvb/BIlEsmHe8k91O9ZzkRGxfcbhQ2Y6HZQXWhvaix1TuJyAMBmw4l2FjQ3ZabviZE8lvwBye8mWYFjoHzARtbK4Eo6vEFCHTYZFjIhot6dvH8b3HxTkjob8j+pOqf1VJMifyKqUIxhGnr3OWJ4P8RxBb4VWm7DVnkVSYTkDz9LZH9YpMh+s6GBV3LL+YVrX54b94dmf1g0nAM15SJCJ+O8Sor1D4JJSMGTy5bn1ttp3L/DXtYZb4NCNxrqz4WmxPyT1TnfegnMrcnx6eKiLkiEAcV4omOdyNMY15+YZedlYX2xLQW1MZ97O0q5+qTCEPkMTUMY748pLhVGtgVQ68kckyQT8jMTT+zwrWkTQxw7BD7BkfB5/4sVLNFSZEW4lbaDzm2VGIJGAbCv8BLPg527Vl4IgYqXgu3oQCdSwbvBZKXmGRp5i2uRhE5hwBLAayvwxYkDkcsdOl12N8I57iS+/BpC8+2ImwItoMkU5IzN6VMYfj6vyyFdgqqA8YsBr+IoFAMvLxBDLD7sRPkHGnct1p/BPd8dW8vgVcO/Aa7xFZSXVoZiLraT03Xi7NFvklcQHj7TSmqx5Oa2sLg7Rg9749mjrpDoU4scrJovGcysbUOeOM+aK9FvWMC1Nk6ZlEjAoKnlSrwqdPYIi0sj+ZCl48TI5uZVS0bAobt0OrxaboLVPte6/Fl3/za1rMjqqQ9quDyLv0CmaytaM4ZpS20GMtzt/6KJk87uJbmg86nP7plA5pZd47qLEMsugagN1j3dv8J0iBHdN6VEunDyQWeDJn4pvh6K2/rA7vzj40A2PZUKop0U7ihwFF1TZJ4SQWRlbcjEFPVUgOx1ziREeJpel87BhtFGdMedCTrAHdAr22LMr+AkErOVLmmY/Mng5f9wP/dZZjzhKlwFt1hSIw2PzXH/ExKRuE0d4/JmJhzX0wk23Hx1/yrwc767pJ4hUIgDD6b8d2TPlXzTIfDFAr0QWMKROnJ3mD+eDgxOaU0VznMIfGvRWKT2QngjJ4zW7fF3WxlxBQ5e+zvwyRsYdFOylCpK/JYbLexEffT7xZyfCSwE5rh7EgvQi1NlY9rfc2U7bL5m/Eyg/1E3uBsWvZIelcEVHDuuZ9/UTJZAuXm7ZbBSt5vuyzfeCNf8c/N0C9kK6r/LE83SXod0j1nYwvMg6mQfL9Wucs4CTYG4KmN2xkaMYosM1UPBqUR0fiU8eYZBv2LWzTmJHSUqtL55y+jhuTSGDCJbZqa06lDI5v8/T45KeYrdCeUOOTkoi2rmCvKOZvxlsjmGnVkmsPNyn9i56IbNT8TkwXqFrV8KEZ0S/DvfNNAT9oHfoIsbqD5qSl123SkD99StCYGlDRDHRzUrXIipc+HqY2tiB/2rh3da0EDyOKiMEIuWi51W7scOg8mH5+0J1clPvxeDU4HP/hDebhlTkJjSuSasJAmz3uTmxYQrqw/LwkD/jGqRupDO3N1CGeTdwrovZG/83jg0i3uUQJXyiN4PBHZI9EHW9sPPAUpScShHezMMJ3NloLTz8wolOPogTtM7IUqujOHL/UPG/dpyiSiHGvUJ4DxUhl09ZL8GOzOU2mQ3Gi2ZfymtP47kVRC35HeyWBmR8SImq3zYNLskaLpajD33YZduSqT4J9wIT5pqZ50/71gzQF1TCM0vyH5jLHvBH5XvwmnqSKvnOX5sik9TFhtlVa7izb6CzLzccj7sT9Ng9siSLdbSxdqmrkX0ox1yHZEVSvOIZvW1kh7lt+IFhdV2HrGuX0JAf9xShXVP/ISHe06LR/5iGwqfXH0u9Ws+92A4id0CmMySO9EsrgP3TZNfPKWeJuZAQGMqKRkb6ZbkPwL0SkTOdT42DQA0DOXDY8NmM+du1vEiimfXQKNbkBNL6sctZ6l3BQTWThm02Lozq5Ra+hFlZEmfujE2KtYc3Rv83XVec4IIY4RUgaR6/0BMocCV18KDhPoPq8lA6byPvTBAdJBgkNq6wtpc/PzEwhaUfLI/cDVNlMAJDe0t7CEFGEp+zcJAKQg5PhesTafr02lEBd+YEJo9K6P3cIq8w7vSLQBJohNgdRjUswgfctaNPmPn7CZn8yUIExKP5FovxuLdfdnCzt7lef51plXQsNQA8vAJU+LZiGdT6t/21TQ5S3Fxhzm1JV86J9cmyM9AVXN0wR0cUBrOvGvJo+9Ts8NBB0UOGCtkVTRJt/Z5QgMSDQZ0K21vsOkZJjBFwRNaB7xbLqGdZBYWuWIFuIgQGYdAI/Tlg6VfoOXbVPOqFFB8j+iy0K3+GavY2gJ68JqLCPVbRRyr96C2m+bbwRdj6O+jIcMAG4MMmnZ+zn0loFocwKKmKV8AB6Iwgdoe3tTsUKhHf3faiMjQkVrqqpgjXWy13wEMiUJ0lcZZcFcZLpnhieg9zb9KUG1kuWjhTb+3934PcX8eZRJ+egZC8s/nW7pvImT9E1CQxIRbWmRbRELLXQOED+6gILO56D4qh2aThbx8SzsG7iIOHAYekBzK8WdluQkLbl4PbnAnNUVO4d3eK+qawo3yfSzzmtlvyJKmoWGrjw1U+158Dw3C84QX8060pLj0E0HBAkGneYzXttk4affOq9SXB0Rpa1zyr5+mex4Eu+dRvuk1m0Jf6jEnGAv1J/1mvM83qp2SeEjwikLKaw92BND6mqLmTiBCBLQjSGvCUXMm39KJh+nAqBv8hOYSKf+XcLIdFXC7wGQ8dck2+4Ro64Lasuvyoz9o6vDgG99S3VI6jETp6ONIAZoQVijUgKTn6EKDzlnIgwivOulyPGIPofgmjGcvCf90sRb1hU661Gua0TlmjvOazFvIPUT95Y1g2eHshVuTlQEI+QAjzg+mxvuiCdbbmZJZNEEBBLvUodQC+8pjzkaOELd5aY6iXlsw2wx2HvqbnEAr91MvSYkpw+wZzA65YZp0YoJbgdaSstwR6f63oeI2wRxgqipgHaL4DcQC4PYGfAwToL+nN6IH0x+ODVfrZYvH1S2myKdkji+EHBFsFcxSnSqGj09vCeQe23FTCxn7ioHXTEq0AJXdqqtIq6gS3IKVscOnIApBnpINaX6+s4eTd/wPllD3aKN8arF/GEW70HeGwMJrDX/nWLFtgqjjyPY9hS/jCfcyUGAqE22Jssvi/jDXqLTlf07ZRyDPTFozjVe6JUmtJSloDc3JA5aHLJiWYOF8nNiu6FDj2LljSw3Q3QnZYc8Llgw6QzW8buc6Jy9udrrdgA2sTV0rz2UXQUKY655w9hh/6r6bca+ZiyoKbUH7dYxpZEFx5auklBNTaXzyhJI8NnXsvs9F6t2xPYFvd8fqARr7nsQIIqRsEEQGWcqE/CAWTn74IrMQm6xchTekxEOI+qWu4RI9+jACoskLUlpDR6sDCjd5bK1CsMUT6Aag9Zdz+3nZBqYsS72DF6WUXzmHkRw0yiEcu1Oc7Xvi2tzfGZ8aOZxbYk4aX1kfKa14WNHoMum9DLlffTHRH0oQDa99AT9AXlJfDE/uDv6z5FeTAzweb1QPiGq4fmnSmbEPdciO+IYGI4GhnevLj7WYoLiOXkbNgwtxBIM8QUg0F0JlAZ++1Rp6HTn6LiONy4ypKCKf3EP6mQ1bn2VvJNnHp1T7afQed0s+BzoGGfBoy1+45m0GNK4dsYmiSJKTVgmTBi1QoXGMcCCGB4uz2ffMDP4gWWcMj8a0swKUHXK1T52/BcaVRPzvau8H5/+wOV0nRNHi9vXBdG83dIlnrCLyY8NQQwArBK0ww2DRE9oY4cb+Rb4LiYYlqcmq154CiamJAQhj1zgCCMMhUh/UrFwWFg7r1j5vL8FFqsbEWY9nXua4eg3UUzrU2vLuAiHb1bMKedxuS7Pfep8Ns4NtM8v1qLAvXC+BQ87OsgtypSheNWgwTc7/t0+1Fu6epL/3szHl29kUEBbBk7rD+Dl1ULE3b3Phm1MvR89GVFvaQbOkwcni8ONv66Oj93eIePVqcKJ+ib5H/BRWDbVjP6zEyLomdY1eDKG+ZPdWfXQQA0BQrVPcWzjq3rBTHuMBZ4Gzqzqd3e70U5jPStAuigMaNM8UtdXCPCuDlRG61jIyKj0YSY5zKqdn2WxUeEgSuQs4VCi4x3gt7E2Pu1OLfDUkF7PDjY1NhEmu58gp8znHkGcOyfo0ea0QRD4/H3gyZD14yk6UIlpOjZ1RVBcYHpJrFJV1pco3dIS+rNpZtwGEaTxpFI0hz961FaYMkksrb9vS06kRJ9jyO5c3WOX4wIxzYpGC1rWsWAS3nfRFNNj1BGuvPYgi9NkijxhsllOgPqkG6Pa2JkhGaKSGd7Rji8047fZIGjhg/smKnmWROPB+W7s7Yo8KRDPRslo9bPgU4ipzcqehCdCC8dmj8zFa+O8aH3rUb0u/MtllGOHVranK56Ari7nvxE7SkOxOBIBmIg67SqRJLpFUfHBRWg2Onl4FbOI8QuwV2C4i0NfAp0Or0qS+VXPYOJ3M/Gi5ciVvlF7XRBQh9bHFaP7PSc7urKRTVIhmJTbiZSFvasPlE0Scj5nHKmMltuqUpGv7OAgFg3cZij62zBFjufDQcMoMLL/0ye3xaKU8m9FXQKrXk3pnaURwvWiF3kmqHjJIozlhDfCqM6XFelgC2FDhmZxKd+YkR42UnwHqW4zS0GnGn+zBSEtcduGLK+NB1kz1K1wUJXsUeFP/J3Tcifi4ngvmd93s2ZSqJksL1uUYRe98+PGgMXJURsDT4jVcX6JucpTWF27Fazqurn4OYTL/jhOreegdwvBDiH7axS9imZOPN2Zgc3xlOO57+9L6vQYUYJy+Gyr+gByklzT5LZguShk4rbsgcidOsTTqODd6Jmzksiyae7sBE6wqNNar1JtNQxPvriCLj09WHWN9AttmCryk1Bfp1UmCYztFjeXenVZNIV634QRExW5jORxU5dkHr5xktNkjrpMqcPDUDkeYnIh9Vd9Z0uuhVTrGjwijIQKSf1V3miDGGnPrEUFmHZ09NcsYO3Y1SlKALlWKvKQ8jvMUEvvU1ytb68AcnZXUm8aDblSSPTi+MelCkrCbASEv5u+ZBggg05BzlZNOlEDICV/qTCzQp2ewUsNU2c2F1FuHQq7WOnTCHCI0drqKPiSOdLHr2AzW4UUcLPr/df8fXAB9rJdK3z/mDnqOVxS9d/qGsf+6p9ybiqa5UCAl+FvLYOVG5TaBRpBY8aw0O3CpuWF1bGRHyhPFF99x41zxCfXWU2rOCtCndyKgM8F/iRj8CFMbLkO/D36Hx09N7IxRQ6ri0XwnoO4EqswpycPJv3MN2ZbuZ4ILHl1APq2C9aRuCLzdFPoBCl6GwAZLzDcr7oXGlQrKP0TBDOUlCqud+YWYV0o1z8K97NO5FYEAbBGwk3KFeinF83OVcDkWjcmykK0PFM0xlhyqEoqZmsY1sD/YfFRFEzsAuhHqKzG0OXTTsiDirUkzKf+2dI+W2aSf7xKxWIz4KcTKwJIRdlz6zIr6WsKVH5uCfm4RvY3VSBmsbH+IziQ8z83eLWrDnHyihm968K0KN6PktN/RNFYO652EVRR8M+KlaTCFWxwR3DA/b3sA7g/wwGvoa99Qkisevc+x+8cpunvjmrpYEGZ7qgb0ow45L+gvph69rPymW/FM9SYiPyJnfrLrJPbojbf6d6Vcy4/b6SezZ/JZ84Rs2PKIQWz1T4pZPZRzVo4YYeU67j4rYDmCcni2uJD9gbzjL7WSDK81p+VR0ghnR8y8K2NWijHFuAk2gW2vIZFx1PxpR/aXMMkCEZ1yZiFY9VBSL6A1wzv9899r4OznLG8BU7Oqiux19D6Em1rRe5HYnM0vB6Gs/UACysWW+P2Xoq9DXkrN+jjUwAxvpSiufohZtfjcrsUKuPOxvUygj5mvdlXwFGOAh5eFbDvjzNOkEcTEgWOvzxLAED28UeoQ0nrSXdBjmkDIoVlZAjJ03SqssSVSeSx56FIAC+j0gHAJ6T8RdN7FtFIaPew04q19E7r/zE62mRZ5yH+ZkPgWm9vFaWYSvGI9gU3brRCpSh6XDimKHv1Xg748JgnFnM2vKjnh/nxYwWnU1gTsBuGmCJ/EjOJV/zJxAluWKjwqbwzcvYNlAxyOxavmFDumLDg2DJnmfJKft0d1j1FXaROD8a8qLHWW0PcJK1VHDoTNh9XW70opAL4V+Ts8UgfmXdPesvBKiTbKQ2VHUs5z13I8eFsk0OTh1paLUIfaqTtvw3XZqIY39sd+czJiscT2RHvYWvNZw174ttOIVHar0QZOH0hHFjvoE1T7uEAvJKakxufASJSQpS+MHTs+1/gzlGJ/X6UxZBysjBIX6gI412KXqoGkzXIjkXeFKeDuvf7+eFal1czLzJh3en78l5YS8JMA0CNL9AJ6Vi90Pu3Wp30sCtq/3zmUY+R9uCWGFGC9gkNt9GKMymMxkdm9c6lwd49SycnBD2nD6yPaLocCH2sN0SsfQviGFcQ4DavQiB7z1AyVkRF0lbGHjff0BrTuM6/rji+z2kFDjjmMYfZZNG6ukGd6MrUeePiHq9UCiZzPRckQ6Rh8C50C4wcOmJ+3qgg5/i+LUhwS7YApQg7svU22zZnNlacxsS8H50u07JsggeApa/zkMGMtTDVZ8fQFBe57iYFLrv6a+PX/l15DkUx9CEBqE3VjseeEzBaLahgT4np5FuLo5k6xwNsbqA21wQkED9J/a7AgIAvaS0dFndcGuBv0nG0BuXaTvQMJ91LEMWybLmGTCj9eXDMnTXYAl4pUGK8MDflmrH/9dk0Biia5EGAtQh2Nywp8o16kKO9ADK7nf6Xlx6zvX5OgHVuKQkvfSa/2ykW6tLS1npCj1UjCzi2V8sLa4ApGGPCLmijxfsgXTgH21apbyJ8xPkDy5J+mLUJ+dwclmIiRvaj0hDgff9nSQFJuD1J3fU09F7mWns1u5xD+bmXy7o/OUoqbvgCvA5Pd5p2udUmTk5GoMxC11z/JPJcRqJVVf/kA3eyU3HPeg9ksjJw60daZR2q5peWcHXKioW9fp42iFNTPvBEhbeXbjwZy88VMsZoPneKMJJlTKEx2JKTJjJCRM3jSjCQOKtj45uyXeDOOUyIWDRMkV9z3T+Ao7nwR5phx+LafDgg7vmkAn/HfPzc2dKuu6m5ZVu8EmNTfMWY86y0kgxN4/hlEw5IXgaArhmYp1MK0vsNyS8Ca3cm5mtP7dhDUFCpBkYSmTgjotsqAkfBXYUq1LwTl2jo4ok36exxQAdZU0V5jxCcZz0/sfUuzJ2/xONvFHIs6IITlNl+UIY8RLUInfVpxVx5yt7DzD5148Wnb9mdS9DVMF/UmfgXme1OXUc2i9htUCD2d0mmsGvhBAme7a0vq/FTSTzaQmiChYeIT7qfeoCTjAkImW+mIVo4o+0Chx3u98p/w5tWiMQ1/t6SQdrthCqv4/WFgfqnMXxFtyf0JL4oRPoDOXX+CJebNSPfGJB00+9C/T9K4W+QqPWRbTThC0NOqIYhUcbyJD3M7SYr82I3vTh1GLFSz2o+jw9e0+kWM2QYXpwSp+dvQ4vWjaGloFQx6KwA7LtyzUQ/YRs/ROnLtHFKHbRWr7FoxiEvd/jk3B7+oOlb5j9B7CWQiki/ER+/d+UUqTt11wYTrCGwNvjxsaOUq0h7Pr7Yg9OOteOtIDOFOPLd5Kz/eW2e6ud9TcZykv2AS4poqNlkWF/RBI2vtN89873ymxnY+kd802KnGVQbgTR0OCqnxYck6hDsvlvNTidkVvGK4aE90M4l0po4P6l0vIvz4D+c7Ir6BiMM4ROIFGVhxhUHsvhz9Qi3+U4OKEt7JujVJWQ6C+A8m+L8eUvaTooH8XYXQ7o/LGwHP76LC8+Ydyh31p9H/VtwOvdJyWT15WLIVhrLssup+Tx0O8F2KfDowBnFLP2t7fziRVuKHVxhNPSlPiAFiRPLIfB64zuCm83AheK2c7XXcyvWf5sLZVeB7Lprby+E6gN1yTwRM9ljDBaF4hpzC7bDvtq7do104e8pHvU5cA2SzkEsMLZMi/QeAkFVg68LV3jqegjeDghE5JMsPPdo+6tQE1lmZK5hTo4stGu59yxdNtfDP4TqpfWzCWH1PdSHTPg2tdKH8Wz3CihqKogdMsi5xnnP4acMkm5PMETG/xb8+lRpIX0TNenN8vCKZbZ3e6k+bpQ/AGHxPSctgGXzcWzfC9fG9q82tAWSyldh9S/gjf5zKe0YHETA9ylvC2caMMsoQTZtdvjT7vxbACINaYO13m4vCSn32TdYusOJdkj34NBTpFAAn4ZPrxrW6pPAnWoEfYJ3i61D+IL3pUiSHNHik4Y5B2tWce0JOOxZOlk2sbKxo94xGi6GIbEXJGTm4dLhToKLJ4vMvqJf6+RFhawG6xoRcUusV6ryzFl4wKOB7wej6No2x7cSIc72hPjnAnIY1TcUO2Xpm1nkwHNJg/EnQsSwMScnjwrMIj2B/SdmArJPEx2KTscppwf2Qio1kUOXOUVno6c5omPekRN01cEU/R3QFlcOEsgyptjhfDqsV1QwXRweHWYdW3GBpq0provzBgo2wLGjY3z2EeNzRHP6CJQ+MdQp8qup3aZmqjn9H1UOzvkkKu+H/Be3wZXVsK2qfIf/+HS9/kLFOG1qDYMSK/YOSRmyA+DnEBTracgEGAHcuwc4nVl2JsVtRW7M/M9sD5LeyxNa8X492HcOm5Urt8dOjhxiymGCe27zZSGMNyhUsSovqk+v1geDOPgZLWUDrLF6Q4Uf1GJIJVR65X+aJVT4kZxnGaFT53VZm5hmCNQxanFRJU1ZSlGT6qM4A9CP8D7XdPYI2FBl+dBpSuU+VKPK27iu2OIJuteU4kQeTDq7hPyKttM7MDWuv26DzW6TB/8tWh9Bd5vjb6bZlB8tHH9NpKrJvRBDpQ3PrHadjthLHfbJ7zi4LS2OMvq/DBR0spciitNExR8koftbI3uwdKDZYNCT0hjJM4UhnYS4dCc4Brrlp91lv1rLOKLqJZSAJnKo8Wk/WHibTOB+IzV1mMDQFRHNjKVkbLSfQINtb8dlZH7XLGW1tUUAwjm4hmjrW5ZirDjMEL4g1BD1cJ1B/0diYcPNtUDZbeCXJLz0QfgCmQW5dfhAOcnS5A6N4KeAPRiw5HOYReK3NXpVhEGrMX/gMYB1XSyRucTNG/wn0g2pZ4v8yQBs5KqC2rpfnwivYdjrnWUhlAs8UXRMx4v87KF6kIUazRJHSnx/sWzXTNBbsETWWbrvQVQh9OJEZXvu3eUpy6FkvZ+/kq1PkWPTkT+cHY6cHQsHtsVq4zWzl9w5mA+Zj4aeg0TE+B+Pfso6nuFk0wvu/a5PWIoaW2wQ5uRosGuiRjBe4NxMTpHgYD5HTD1y/wBxmTEqxg12rnMPPnc2HS2O4SDA3iQMfysDcDbFp8Y027s2curXtaseP4zVi61r85u0n1dsd7MbBM0EHEmvM3PmqC3LBN4twHN9IZAMtlH/Vwa0cGKHeQjqbi/hN9POxfLPbieV3xN9i1svGlKWJFwzxcfKe/fM6g9HDb9KlSG427JZLA3UjGVwGg9PL+DHxEFrx3JzPiEtFlmqqQEhSeQoesRt4vRTgMv8wXTEMdIdHYg+Yd6E+ZSEudEe31wMp/lB9JgFWLOxjv2yZwCul91iM7YeA8Khfw+U9sHcDrBPdFWPJKKWlaCWKai1YSME2hOJBd7ZhIlKe+C7M1JrjEFPgrBxX59Y9EFHKdeS0WBzakileXh9Z5PJl7DiBeLGRyHBf8WSIZ+Zoq5wbc6Nvu7l/sqpVJWMkULSiPLHyzor6msLI05oaNm4TZYGVSBfU7RDF+P7EAPGhZJtp0Dp/3BO3T7zDzcOLwG/tozFoHhV1189Xr3IBuzCaGLG3H0DTW/IxuYB3JiBPQAl2yOOvdjcNSrejM7uxSqYQ9sHFR7wIJUwaid+1VvgtPceHmy8ad6w+j8vdYbw+lFIL+a4kfsZqQYsSF5TeM0R483pyJnWp9pG7v5KiynNBGKNX8TI7x7wVdfOayWCbCE1YiEkTUE2KflhreU5F3fDpgKZXswxfrBlb5ByGbbdyXL/R6cYPS3IYkhOlJNao402rYMUDN7usVYuEYWYpa4L7+dgalIRBhel54o+u6Moq0B1ltrMHXGFB+AtAbOBze+DKEUB611YanypBku83iPfjbSb2Agrdc7ZL823Eze31ZGIVZjWwWuoRX7FV0BNdU8KTX5S41ec7ODpw8CFN6I7PtGvxihcqM+odb3t6LJ386nwczmg5wxjN3Zu7ZrT2wDZ4T/G5T0ttQleX4HVPR5PTevcvs4PyrPKTzErlFFtDb41OnwHBQHYkXLjv/+kf8HsZaPYLPRtMtKc6zZV1+oX2K3o2U4UsRvKgfi1dgDCduxACdW0pkRtPhIrM7CyfsTyqSWdmXhQk2Nx+jEb7nMValzcAY9k21y7qvCcx+EidF0VceLPpl2fEMS2pCId7NQPdkzgSjm1HmCJ+CnqAa0rOw8UKQonja//uS9c2ueqKmXEqOAMPH7DxW5ChpZ1DLkpVo4ZGj838uP2+odIMx9QWGDVh8xMkaORM1N8csDj+ABdTA+sl/ZzJSGgQaYs5doWnxx+BD2N6DFsQ8ozkNE/YcoVKe/cKn/JOCzaVujrD6SVtdwZK0/NusLJOp5kIgm2GT0eOzwd3+O0evSpo6foTVNX7FH3gWbjXWjOXxrDt5W6HxbnOc1qLC0aLV9LzMh2aQaVddRmybz9ABy0LZMa0kNwAWsJ+7h3WpaBN5DDsIWlHNcRSx71t6tgLi2Fmm5xXAIRqhfA1epLYN5INtHLZykDrOOrh/6VuWKtk3E4QmSTCdRpp6Wwta6G6be0rw6N83FVhE+u8R8OWRVW1wAXoLFZjuYH6OzFJMJ7/+YxFd42OeV20V2V2Zst5gl6x+JKWagbVuTg6Luzb8v9VhC40rqKY8JyHYG1pM5C6fSKNeUHCKHhHGviKqRjg3/dyxUBqfb5FHBOw75JdnmAqYQTsX9aPFOwIG6OoTYRhZ6u43UjybMYwT2EusU6GhDm+QKMavrf9kI+6lzBYfKKGVgkvUCq5GRE21St367cOVWxg5kYqj2lPV1U49HzSft5p2WvfBI5lxTNwFYE+zfFDqhFX0NVekH29NgpiQACF5BULExOhl9/8/AzwgU4jBlwqkfX35UBMzGORpsG9v/pU9xvPhThOArApAN0PHS5AvRAO/uR+KbmpdUjvS0X+rzJ4N5BqsFWr07XkvovnuplUP/AZWWqDBeSuRbsMqq5UfxGgLkkVaK/K0PgbihYx7MB80F+pWVDCjcw4t5ZXPBQPPpxxRXiCLsBFtI2JWzf6XP8QAqHvRTx2s7SBjhPMy8C9c9dYD92KKBQfZ7CHSWa/mxGB5YQKWphvLykkGxlYC3pMdcSUi3mQSu6S6yFG592o9xB7E4nxHxlQmWeBK+OHl/2NXy7s6MCR+ykXjMoZgIaNEL3lcaLYeldAC5ilz86w/FVHNBjBepk7v99ZGlU6euj293qtuUodXqYYaG1h+wJHn5bEi7y6NivtIvIDvuiQIbFTVtXIOM4VUYa0kfUpa1OYPHgR21EXBaHEjNtcNgfspI8qIqNGD1tvTkhn4S+/uTx3I1aRiLRpdThhFjzScTEpiayzkdIBvPWz69m5RMZ9k9dNilU/I3Wr4kkztjW7E35/vzukJRCboaoeYmvCTADjqhCIHe3y9CzhQAuwcS9OPJk1EO17b+7VLUYP7wWumg7VL/wyUzT6Fi7XkD1Ut1q2Sq2vNP8tmBz0MyXhcHQan/1//1cfTlYIlAMcGhzAHkv74uYBcT4T192+KmOAbddWnfmsz9vMYiHuK+ZDQyX9AWPZBuBemy6edOsjJLtVUmzuIEWL4WSJbDGXre+S2r8BMIr/aozBzmFNvVb6X6VYm/cgC3lOKx2Oy6FQuJbn2Av4vSKHeD8s16d24AIphgYZL6i6iQaaPtRjD7EB//tn7XQo2lRTIsw10jq5qVr2dmeeisXjRv6aCCkep6k1HiEtsnaFLsV7MzTxiB5dVcerIqj0U1wjtB/6QyTSzKfX+7HvS2+uV95jEkJ2SERO1GEWA+SwMAgN2KpCQQiOwmICeuXbWO3LUJaYlT+TZrtafWxQQVHd2PeoiE6kW7rrGNjwJwgahQeLJn0w+kDb/dhtB2QPag9s4j+MNzy1tS5K1TekTKxC4ZK+rlqBV6um9QHrTX14dkVz4DfLdRjWB+PSZgdqLmiVu2UnhTHw/GJ+xT67JIj4EQlslrqK/SVJdTsMgw8uxjSehLeY3Co4EYfO9VdZHx7rInZbdavxpuCaXvUlxs7+niEkF3sYfV3AJF/UAhBzMaUxbP0cO5UYDzEedbhmZKpLKUrw9T6LR6A98cONBOlJOppmir3ixAHePdORuf7Wp3BhmpaaiXM3KgxYsfgzziJm55fau9rONpH+4I7lzN93M6LgGs2BvmEHB7I8zsLkg6ooTadRSOjmXwHkJrvo/levm3VxN/MvCuE+QyulUtoV24l9kwphlk2fu/m7jIprC6gneEelZ1s3JuA3xhc3X4uOv9zuB92Fpv+02v+1PkHq93lPVaillxGYmji7shjLlzwQPXx+zzkM5qXeHOKA/mCaffYpRfD6i3IcygyT5zV1POjCwWnXLnHXq0NIUTls1imZ4udZAQuiarzCuE54Ro9PXxfZr10rMV7WTIxr36m98tiddM87+yNNKc66AidDQE752PAptUmHF7O0DsUbbF6YzgFIGLAvjgiYcaL0qaArvDrAqItdBNd4gdlczOZSxxA8CvNqJMHZhdBp/K5C8HicSQEcefn5FhEIiFmzN/rnGiWhowSFtc3SHrvg96qKuuNsnKaYqYb+XXuqUjnZPGHjtYdnvILfCWPWQi62gxjXGi6a3/XhXcsLQjReYR4IKTS7nXJ+hxmylBITbpKnL/+yOEth7S2W2jOHHfBg5kzCYfeGaLt/7s9pL9l25OodiBdL9sU4evdycS2nwdHO/Rcu98LW9sX2lthwirLkX8MRM8TT2a4nGCIpnvXMmDynEyt1h5TQsyZOBy73gDxLkE1ssfhbw+WtgYH9k+nYIusgQjeojmBQkyoj3/qhaWL6UpQBYLBS+m42/3nV4/OC6Z73flIFey4VbBC0h4R2R1053dIqz8keRe8XbMtrnF70mFgjBLLPmNVOU4XPNW6sFeQ2v2sQ+ssdDTI7TV7rIgr2/zEsMGSs2V31Oh5DBAHMA0FqTEkXAraUaFrMdmWSQ77CM2ySLgY82upX5gCNIY1EwbZgc2rud+ODP6POhUAiGlfCwPEemF7s2X15rHKD1W7ITI+Obhn3libYGWp3fA05Fgo1cgbZ8uqrPpqezVdR5Nob4OPI4og6hGbfmgJUFP8cbxxwSI/2aIOct+PTq45ubeiuqKm4hxeyq/viZ2rSjwbPU3OEA2VJbaZ2q2dtt5SWMW9OcsDkE7X5lGnaVCxBqaMJDHaBkU7dclhEqVSmKzt/7sE0Y6T9XfHTOyW1aaNRRcjDWXYBGXLzQjz/ndnLHaYDza8Rj1/tPbx1rXUQYEjXpPeQTDbTlMJGc8yCiHUlJc+vu6gc9EaX2rULFu4YCwhJKqZnLz1RYDwnU0vL1eUp6YAKkDYFX8loQDvLkkeuXzy5UEzPR4SfyGyxV+I180e+gJrMjV73N10888dRkmySdkTlPvWzJ1lbWoqd2mtqhB+w8xRUCa0fW66Q8r9A91STjuoy2QlnQPNPCZ88u+LA0RaZwrzMwGb8C+jR+CNQt3lzQSOtqOsEg7kjMDUsCnZg0hdm3MI3XsapIKBqrOsCM0IYDZD6yPy8R8AERF4wvMtmuw+EX2NAqWat8PGb9vJFam6d+3R6zNAsSJZa9du56KhObTMJbrnhPH1hNgpxn6/xxMvfLagBCy/vt9Chv1SsnwURyOXMgihBncLyGRxPn1jj32A0EVRYNCufteHa2Ai6bQ4atncevjA6/CYIxPyXE05y94CkfBrCUFZJvo2IDmgEXAnRSL4GxXErj4VNl0I09E4z9ly4UMxsg/Q4fbYoHJtDRIhfweQGgpBV9Jr4SmRWaZPARdQxDpfEnaTQllkFesQTxJI6IJdzEMsYA+qmME7mvMbR6Lp441hi9J7A2fLV3cAV7N53fmnuw15Ta4so4AdcjfWRecbt5ZYOvDOcjEI1rKkwVyuwJ8wFFzTNPdbTI/hLLfKxG4MF5F4f0tsel7jOjKBOOpcli/vc3pfbVlEEe2tHWNhRJc8lB60uQCPe4vhgmJktWgrIHG28NOBrEJta7b6IFbrPogov7WWZdI2VokK6eST9S0rn7Z+Slzsdxoz7O0JzOjpQHw+iO2+s1K70hov09Oh0/oo1IRM+gT8OT3xfnd3VagKmF6uWn8Z5ZEiZZIheo9zQG1RFk8qk5Erz5rY9lOEac2RPC2m+FB4YS/z1VoqL4oR5nJ6j9kdGWdyPaCm0IBaoJuabOCIHNO4hbZfnPqbAkRbtv93Zek4kUnqwt+DUufgxLZ+JvTknndN36iB6ZNDdk7ZVb+mfC8ajfLKl8n6ebj0tll0E1+mWH1Q4wRMg1SZcrB94svLYsBvBOOPPRcVtUKHWfftpOV95k5UZXBWNoXSCqJXCuyc5jo9Dd9p/5zv5U4Wr9W9Pr4cY0o2n9qsI7+Ls0b6doigiPM1rje57Ae7RLtygys5Ft0kyIB7TUc39o93Qd468vD5fmsxkVd+yNZ1IBwdisw2lNaxA0vj0jLOCGNvnteqNI6mT3K/pPxR+x0gwr9lrXmg/PPVy5iHVAeDfeN6Q2Sve7EjG3fmslM5HWuYch7I9ZBS0qWlx4ThRMoOhtInp688LyLkiMkBHG1WGU9ge7KK0XlEK+dmyKWGPYw3H0bIHMtOkHSmiKISk/8uvWjMZIQBkBdn+ZoKdXM6ib3MQKDHf+fG9t5S7ZXEh610A5rjvO70MZwSNx1KJptPdUkokLvvTxQls0RdGzmx3rCc4/b3Uxckzet/lcGRGEgpzIg5f3GraIL8qCW99RYwwTuHGaMW0zXG2g0m6ct3YuAONVLBQkQDb85A1bMKJ+BAWUGlwMeNEVF1TZEbZ94c0FxkfvNLj86Ol5lLtrKfYAcgFPUFsrP7xB9JoSN5JATuFtmKArA+X7lL+Xv/CaILTtlmOYvx4fVL6R2KwY2C6HXjGJov8m+rtBBCLGTOeOxRPwgCe8JgslC6Wok78U0CLm8vhv/hN1hh820dJN0ozCCZ/e9fWkfpthQhZbpqieVye0On4XF7BkhP/KBBbuaMlE6sIZMe1pPDBpNJq5Yd0hoDmJQl5NPH7+c0nvodkfnKEH8mKL4w12k1UEglssiRF3cMn4biz3ctB4rP390rB/JTx3L9Je/SZrAw/6Y9vISTqUxEE5Am6DmCYosKx+UYvcY88ftyXSrNqr51QtCZ+ekSfwoVwnStztDA6I2Dg20pEU69qykG4UaIZI6UitAZ4ba41pIB/nBO2FmAreP5jwJgG+3CBSmE98DQLRfchkOYKukgha3pJ0TovNrovMCLQQX13fxLu0oatWnkBHrctwIVSYdccz2J6bayWiYG7Wlgey+uXpGR0BuSXNxnVD86k66Y6Sa+gQe4sPBzva2DIs3A11dEIzimrwUyAVltEo5YoW3rrmW3Zkp/MkHf+syUgFOfWMJbPkq2Y0HXESrUlR8WCXC8DCayJ9QPAANxIJPhlTXjrricgqexb+ePK4N8JeJa4m5J3oMmY82Yci0fqgSNnhmrpjB/CUnihXkDmrBrtVCq2oG9sk0Ldujs7pCnf0d49+SJu++zVDCf1Fk83BvfcJc3RhQ+5YhJWprnnJ0qRcetDkodrfDZnAo3vD4HJRdTUiFoPrSGb5npPpdQbdFnJ3JX2lNTiMKRQCM0xjr15Drn6K/tH8/z6iHG9V5f27pcv1722TGWFToxbM8dSpGgKnNTPa8OxvlQOIDbCEQKqOypJEQhSeEmhReHVToCzDYQ5hx+S1LOTpTZOfc210pHujbMNiskHQ1m4yktyFSE8001irC5T66G34gFH768qR+3byfSq/t4/Z8tx7dzQAsATqf6xZ9f34LjklbtW4Ko5v6q+8zEBxRUfktZwyqpBZZDeuKPkqC2T0lB5/3Ig0Cpdoz1iOYMW337OSqeX8GAxZq+giOsArAFh3lJ05CIZ2RSUZGSJCC6B4M7tq7xF+tPyzlS6t4HJDYJKTGG+EoWuS7nZVX1NXZCFaCVnnx33Wp9TrhcMN1gLKZadzgg5iEAeEcXtrzSEKFUe030NOaYmZBl+3NlzrHoplE4Yp7TmsvXQ0dKUSMEM1gDfORH/U+9KkWZ5cd3L5ChL6l6byB/cNJo3z1c0NCPnAqnV4BS6pKEqlNjURdysU7fVbh3F181vIQOjCF7CSad7gMJuE+7xyxS/AMVUGOp1Y/xzakOk8ZL/Bwm/taO7p7dux7ykB06C8rjpX2EjFuNkAMgpFr5VE6FWJwR3lf+uN6crKCfdF3v+0YCCb/E8UC2hW6VkmGDFie+hVNEpXiRd4FamzbFRV89flCkBjx6x7kp4Z8/kLZCPIDUl4iXUWTg13frr17YRZn+tQLhIH/VSvPwmQ509HC9k8AenOb95NpwwVUbvSvtbGy6B+Om7vM632KBog8pEgyZH59/+bejzmUz9ejF8MUtE6/nDKvJzBAFM/y7mkwlltGnpmyMli9qxyRB5W5CorQiMY+rNkwOzPLKKTtWGZ5SEytspdxc48B1SWnuO60pQdT7Q3RM9McjELOfvZWdV9tDUIHX+UMamAz/ESsJpPxpw0bD8mtgmlAOk3f5YeGO2drt8f3kUT8Dxd/Fqr67z6jvq1+PtfmF/tFLvH8tCdakUaBzyaL7qUKnPs3OYpf6TCw1Y3l3cK/+UHgffry2bC5LuwlICGCSeQJgbwVqB4TlApvmJQy+0HU6hVfB/VwvK8lifny0F7NSQ9vXCsmlZY4rNEteZu+uepsADNHM/sL5mFnmTP2SIBLlNzE+JpaExozDiddu9F1Xzdc/R5RmNiRLDrsF0JITIng7D+P+N9KV/XfHCBzmyqWDlnpBPeoi2r7NXQwaFaqM96qvbVTdRIcgqlpD6RIQAcXPooNu5Mk3SnLMPpVeeuIAsGBrGYwA+AQscUel4+gggHnEtJpcBDeOyNWBvCtbz38zg37FHmH2GUw3GdGtRx+L/Usfpkz2yn8bKWhG/AlMGv0UjomfraZFMCJywTXvmsjmVvGX0dlr6kg9codty7RlAFOF+UwzRvKPxZO6Wm1Hb47/+hxVGyjM4r/ULwtC+s2tnKQEOWSbIokKhAx0uyk8RYGg+AlC/3zkCHpslTCYBw1L8ZLoTIcc8kKa2X5WHSkj0DyS0iHKgfV2HX/MOinQgQgZfnbfbCTyoTW/aUdzSYzToyUWu+/O7Qodc1l54jBvJ7bnF+E+mHpIqldRK9ZRKN8G+Mi/n2j4tHLbSYbtXRDsPoGdYgHWlFJw3cCwzjcUNG77ukjSN77Odl7Ei4ib0EQq0CwNtE3o16H/SodK/xiBj0q6llvDx8Mgdoc18sgpyj+J0jUmgY8fJSUSazyoWbvdflIVrurxPp3+6adKu9KaSJa4zG4/iah8iv/fOhVB10XYTlHMk6kcQvtPSoAcW2M6D5Ijc5y5cbpdT6/3An8MNiftdBmV/Ml5tRzqesXb26LIL2RPlajYPb5JGEdCwOrwcT29Y/uhC9d6NmznRmjaJ+BpaCRUDIiujJXaN2ERe0+b9h8JoMH5ga3oXxBt5VcGTAMNn18krT3rDgJaA16o8ditKjiVBuF3tCN7WN+lIrT0+utGZqaYv9PNtx/kGGNRSdU8xyQtI6xFAffOYP4D19bwTlqVe3w0UdJYbBbgipdQ307cZmhNg/V668QH5c8q3GmTwEaz6TVKlUt2jIpy93rtyTrh/c0lk8WLsUzB4woKQxWBDZ9pZob7+7OpE5ofFvL2tvAN6T+HW5zQTad0G6iB7soTY/Lhoyz+jggOqDU/RYgBO2Uh4bkPv2t5D9JImyGi4jn2KLrIioZPoqdzVHEDfXK5ndMNRPrgUBxUuxpexetSvbht1RbB8OzPL9AMvjFip+stTulB95mUz1I4pksAmBWsgKfPr9c0zCP55ULnvUeMeS997VNd+fKDaDfHYPVc0tV69juxXyErYTTMIG58HFJ7cK+dW618uNf+qNpzV0KELRA5OXByJu7vrTCp3Fe9pCT32YC+73x1FljK2ly87IFHgWOqJ88sGj8sV11deLmXzqG34deTGqB7Te9kVIgDHfYfJRR/9uBUyuzGtBCGYfI1V3hy/4G3HvYMNaG3LygXplsrdz4QwlbqfCj1mxmH5sj54xFkhHAeYuVsAQts+5scJVDbvD7HbmscK7/X44aVna/nqp5s8rdUqupKxu/ITHEMrdncpSFvlTUdBQ418sbnAqhrieYEyw/NEZfnezt5UwR6jqToLOpIsdiWYDgIxzSgJ8M6IFVKckqb2MDx8A9Zx1R+HPc+q5CNUkllsmh4IRY2qI3V5+ec7IBAA24OvdQ+IV76AQslUxqhF99Cb2B5D0OS4GWhqYyWcBmTGB3yHWYdkw2eIGArtn/ZYWgzzZhpzBmACgnBddfkxuIIbAKoVhWW9l3qW6WuoRIQvuz5oHdxtHlVlzwpesm35R7wgMQKsxLHTfO09AtG3gXWRZXSEKS5hGnm+/m8W150p0RZPs+D/zHW28bmt3mQMkiIhWs/MbE4cTvwu1NFOjhwNNraRYdog4By1Mpgk1WATqODR7dvTRvyTxApzkaIn3m0/UNImLwftF3UEFgNs7zkzuUFwJyS8366mTLWBlf1q4hYasPCd+ccTmDr3mm+R9nxQmwXMXw9Oi7RctGF1miJdSZJl4/7wj/6ARn+LI0CkoMsYfqdHAW/m0YVTyJm63z6YzG8Wd37X9zltARtLaNSITBb74bMzxrTnEVIzikdozaQ/E1eXgbzMvfrfdqSF227yucNafVFOjOhsmV03ldkLGFKZY6blWhHWyqep2poqLjLfbs92laumC7nOM9IrFCYiWuoVVT5RYX1MAdg3BF8i5aOxV/AYC3YhBBmX7ow6W1HdgCORZjTKQB/1F6cMV4I3D/w/vRaE9oE6bmRFLrhYpnfPsVc6GpgYlTJVAF8spdv01HgYaLcm39K1xjCrt+rlwdZsxNcO7S0cFl3VO9F2SBWMs+MYAvLRH3CtmLMfozP3duFytY1AyHEAQ4hX2nICIIZkNaxHVeHOpLK884eJBjbSKI5J+Z2qJocI0V+4itFsX+Qi28rVwCcqhPxeJdwSWtNqvTtmXRD996IYjYZW6NUJMdzp2sTlQhGWSKicnYlK70UOyUst6+gvTHrT/rqJ/9RtEcJa9fN8dz04jTjXAcmkdzffOGGEY7HG3lTAC+HquUjBMB3D4Uq4DrxtZCEd8LmY61GJMC8yDeonp8Zx1XCPqxzXNZauSe16MXOv2t9hTeWYcLXwjvC7PhxkC4UJtnj8TA8xRiw5KD2sHNn9QNK5XJQJuDSmiBTvhIRetEmZ78+JpaBTTrc9G+iLlviQ7MG8Hfc//whTejOsSIzSM/fbJMNtM+NDM32KFeURRimfxm2uTzrvIyT/6+VETl4FppYb2SCIRM9dnzFLiFVqd/ZzQV1EgxX+c+XDCrHtKEJf6E8zL5/2lTykDg/lQWPot1TExhj0TsqUZudT+V+qlOP7WCdNpE7CDEnuFg2eVOndkn7n0uUKKDQBb4EsB0G+8OWcVvCtEOoppPTgDOOunNhoC1X3fhQdNESvWsRqyZSD/hQqUNo81DdmVzWFhf8Khu0lVLjQpPZIx2f2dJXQ3l7dWROe5eE2bD6hImexzcC0E0Dyhh8rAiy6AWzlzfoIOgT1RgAF5WcCuQbTGicWlLUtnAR7eo0u+koOFLcfiYrH9eAeeG5KBG0uVUjWyXqp9PVcCI75WGbTj3AdJL5PktxYUvRbvVk3mLIcjYqS/m51k7ZDlxIdcTdM5glV81etZyJ6OJAbG32p+rQuI9es2k2HU3XAyM142SzCzrOTs7opcmI7DwGT+qD/m8sKTu4scG3Rcv5gr83VeN+kAI1iCc7d2aAFFRqlMHiNnvOKlRTMAPzAiwh+WrYEPETDJR8HJ70c1w3XtAMfgKmdrfZD2juERvfhqLWWqPdw7uvUCZNIORd5AvruUBvgU+vAcroZ2sh6FbBQezCFeoxw59HseP87G9WXuIwvVJr6cqcDbzQQ/PMdnVWqxPiJqhgYkYptNIYr4EJ0NhubVrEXpPoqrDOClk3t52ykxiWS14uNWUktBBpsYMH+vRqyx6DHRKfVzv7B4Qkjzb0CgktkBrnzHnr2AVU8cMei+FvFK4e31frST6+Z4Dpqqk9Z53BVKl9owQkeqnxTxTGYQVCH5AKAUkqdi6hm4vEWJd/OIhN+EB+MOksS3NWHAmW3OheSjzDaWkNmgMkjvlLpXyhzRwVrCXPnfzZVmY/PcA48ooYgRe1Efc7cRd+E7XvRbVate8ctNNSan3dN3byQLSqEPyEAqX+37htWbnyxiAvZ4z+ORPMvYe4O+gcLHCnSRjaznuhTrqslJbYFwOkOIJSjJ2wcFMdVMYC6kO/h5byNFBpQtcMh7z+R5rmIkEMHQu9VvdtM/kKR/SkZmCt+dXg4GfHUzdJ/ZxUUHzD6A59rSjfbVMMirFY9lZ6hYXwuggU4IKkQemIX0miCJZ05aPSOGkw79Bm9IYS27BRP4r3iE1v7KQa/k1+TQPzI9Ecc4to52kuYC8qa2XITx6oReTpnWBdwcBsstF0ReUOlAAcxmEMmsL96TESzS/2qf/7qq78uk403xIzpY6vhc1OcyjpsfO1x8iMUSnI8uQfXWdP3KMAo1pkoPxmgG9Q8wa8BV1kDn8/2ZOf8BYQFhDbVnW2e3eDVB14JTQpVrGuYqrFzJg44ZOGCrgHLUWH2m7vXWy3XwQjFSsRgwnrA2xwNm1aXtaRcQkS6w6sKPe63KzDrHAXPHCq2F4N7Zv271lESYhXg6GnERY6nrASMjJWhVcunJ/2A1A6ruxZUowUos6PCafxmjB2+7zKnTA6+zK7VVtexgLwv9WPdqiPU4INAEWttw4RMC3wNbiremGK35nv5c7IQZIQNcinwospgCx9b3I2954GvvfrYGFt0xWaB8TeTLPpxf5ecCAkWCkJ66Ue9gvafpnaC132Gqj4Zqsrb/PBF2rbuMkoWq5FpPvjKEtquJ+NIeNg4O8N8mObCbTfE88HgBpg3DGlNL1oiKGbSM3k9wQ3YOOAMt7PyOEkHpDBilx8RRpAKpjiyYqyaKUjq7jljf5xkOm1FxRGhL0NkGirSeoai4Jzb52bBtYTOkvTK+wV4k16ZFd7jeVFWORkdzUFTvZIUHsQZcdWvPRLgTrgzgYWY6e8ing6thmN1PQ9KW6lW4MeqCYCCxwa5cwPjZbnke9w86xoPNRgx0wSRi5UHRp69HS9e7+DUSp7Qg56B1xuF8YYUIXEz3LBje6Acv6XNElmWUIRvav/kUF1+l8T0KK3CTs3Lur+CppxHpLyND53fTrzaHZx6Pq95v2nB6GFO9D6W6dkXpXVuTtUWhKz5C82AFZc+AD1lMqpyzG16hAWw7oebgC5fyBPkRqJWD2SHQDI7RbC+MIOaafbxYQuFhEIIe/O1I6KZWt5+EhIaJk8+umrIVe+IUDckALCo7Ea3HHoz2NzrHHsecOEANVfvo7rPs+/ZPxamGOCwReyw/jFNFylEu8LnsrkNVBisbCs10LNKd8v9kfb3KZZDILiz2WehScmo5fEjOI22mF2O7lZhmlvt+LghUfdrQHItCLIp/9NhrLXBvjSIMQqJmtXgFAdc1svPD0XTobVlTTWjgK9rF+2YqFarCHNV5F9oeoFCz9ImgzrbZQC4Fi+6kLGLJqTOoPEmSf78FH93z6bITRm/dnZFJl86hM5tNyMWI4hU5FP19nOj39Wc8RFSyv4H5k58PFqojMreV/WBlSsP2bSCD2yvtZFaxZxCqAqu/pWeO5Yf0nXTrtclN1k8g6qn4k39SSZ755mOsKJgpVZuXGZTQeOrSQf2i2a2jydZiFiTd6bxApiUCyYKgRa7Zy9OREIcnomUFFTQvIfJW/3F0Ra4GDR4+grPJRMG5q9IHQrE4ZcxDrKDng2mPhgrsPB7c75ktqqnHYpHo9w2yW7AtqUeijeq4rrgoaLAboqKih1XhetrNI/goEAccxLegehDJv7OMZAHoKtRIvk3elh2HkO/EOGG8BgD3RNGRiqouc2OKHXynr/h1UWx1SdiQemqAG/mO4t924XfmaG0v18igRwFcb5SuNpsfKDY/Py49rw1nekqvR8drr8oqVcDHMveqTTPL1FE1lRQnCXrDdZ2LrT/M0ecROk14ix1txi6a4m5qJpKQQdnKydVrcUm1Ux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62684" y="1371600"/>
            <a:ext cx="8627534" cy="548640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Oval 4"/>
          <p:cNvSpPr/>
          <p:nvPr/>
        </p:nvSpPr>
        <p:spPr>
          <a:xfrm>
            <a:off x="5477933" y="1727200"/>
            <a:ext cx="764661" cy="33866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968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aIDw8QZnT3KVLgIkmA4yGmZv1FadjQXCTFAni4MlrSgeEB830Ocnz3QWUlAgsrQXmFe+TF97PVKC5+NZFXD/nZwHiARfjsR6YJSXloaXG5J0kXKdyAJtWwsUf02/aSco2yJ+8XR8/0BmI05R8qBTIaAeK9qGXFxLZB+O4DBfVCdwMaP4yATQd1E2Oj2TyGBAGINWkKEt68J568lykZD0Abye7dgCQ6ICPwZIprFdggDlGVuO2BeKUHnUxOlWb/71PLV22MbBXfx/y37/fyOKEMdsZSY/lDZlF7P1y5P1QLNBEZqeOEHu3eiwB79w6dtOKT3/wz5Fstk61OHOVtoMZrG0WA3+kympnr86tphBNLms8S6JEHd5SClfSGuhmclXLt1BmwbCP44CUbNEuX8N1cfdy2ySJDhBlVMhPa9QYSIYX/wLfWKvh2f78xOtMEEjRNR6quP3glUQWQf/QTySHWKg4Ofxsg2Qq2t9nkk3ny+tx4I95xiXGK/AFNUY7H6kcuv4kOAUZOP8bjGHs5liESl/xdOsF07nSrw9Y5GU9O715h4uZEr7dAz8dNJPLa3ktWezSE2yxhfnWbTX6nqwLfiVRA1MIS5jEejANHxAjJhYHJCHXl96GZd6DavKTwDDMrq1maOSETfnZijgS0/VtSr+FbyRqlGMxN1UipvAl9wdr2YXf/w7RcVhrwLEBsMO/YhbvAuyuyGdBi8aYZIue+g1lfVinzjIUXQTyK+RacQaOAfRn0sE3cYbvRzAE3MCkOpBJYPo5oc4FEvnfpGmVgp8uv309pj2QQC5+HXJafhFDwK8EUkpJT+lDA/60NqspNk1eJtPuX6lF+pC3rGSb7GX0dPeXG57MJSE9FmL0UkgEoK1/wo6EEWDK2k4rYYlaA//onGvZwGZmFzgjnQVWXY+ico48706UWKcmaOBYsh1ZeO//0L7adruc914OepfmPay5gSF7ipVata6VgQqJR4vmeR96chgM4ZMCvdWkJibbTNlQ99CSR0HTVFEZjES6AThBfrlrzukuUWurNDewjGf0uW/mN7KeSTJobMso0KO3NwNEfVf54ALIOHYIZ80qJ4JJKbv0u7jiWt9XmxmHk5XWWpmT/3h2rXjQONF7t35u+hMgGdvhYa2BD908BHsfokfv8f68mimXLW8SG7PQguCVpzgLXcw9i8BnctIA3KbUsas8LNZkCmezM402SvX27Ri3R2CocQB3ADUJyXgzgyXjomF0X+gof2IBuUi+Bl/XqLRJiFWD6LFT4WGKpJNPDfXJ9zskvt1uTZoh4KS3sxQq6NRAf1mt12y2TcH48QJntaw8bXc41vpMya4829a36YlZLXSxUQCfpgfmT5HOb6gLpaK6NHZGqLHVqISq4Wcr0Mgawjtfq2o7kNOE5/gtuyhTIdGLRTPGdxwCE1f/9jeBbudYqWJWTtl9DuOue9Jcri+gTg1TKq2USf+VL2E2S5+3GzuRT9Jr5ZnzG/V9qP4S3cGBWnHsmbQT4voVWdZq9L2qYmvYL3yDSt0GKnO4UcDUVQv05wkuE9e9ThZEvmly3Wuj5X8hmfHu2tFHuNI6GWOFZVkEFc9X4mLi6MzaQcMmNUjEBCbqmTOwtqX+Bj0IZmKq66K2G22fkP2WipFpGd28CQEgky+5966DH5oY/a1N4fR62I1Cb/zVXGbDFKS6ycbVwQIa+v20skWZIXeCayijfY+pzH/IodgC2fcfP4sIS5RIcfCBa+RtbopvqFSyCfIyoPVhzcWih/xQLotm8V2DjTmU9hRshlqHHLikTUF9SBrTQlJvyI9VpGEuUQ9Jov2CRq8s1wgyCkUwpGtdOY0aP9T/4eRmoX8JH030VIvrjQRD5FEiIdAMRhCaHZ9ylMzzAV1BKdNyyKHos7kzzClrtgqL4ToKfV5kOYqh8QIm1hAjqvRaIyVp41+haUtBLlP40AidxQvfjC7Gg0uA0p6cpfParicVy+gOVV8nOcD/0gxm57ucxV/wP/XFn1iFSoz2+fY3+tW0ogXbw2MpVXQbxsQ+l2n2hDetF0T9H6XpvbmEQJwoLYrgxTM/VLOxpMnxQlNs3AYRI8s3TBovgl+WXJx8mbQ61Rk3QkwQRf/6BerD2IZ4JHz/4AQU4cQ/ThO3fLRNuckJ62dNzOtkm3eO2kvOhnHD4gKloND9TZ+sXe+REOSEzqkoKUsVLvrii4txC9IxccRp/J/B0V7FGgfw7FNt/FdfB3SN4MANH1jnbno4cDGhkNKnqAlr626PNO2F8T+o/UMUlBgbbIaULkHNFnwwFLqmBcTEwD25YRMZcXtaMnmiLlPCs7ZZQZV+3MBzGW6J57/SGHhTsF57Bd5Zof18FjbuTbWla88fnGGdGbw9TFW49LjrEmg1/DJo6aCDV+5UtHeg9YS7rWPQDghvkJlpXT0796FWCP3pQf4tFogG2PIFky4pp/Hya0U1/NGek0w/eN4Z1pe2dU5AI/WK0d92lE3USLzoeKrhNdGc1cBO6dvvoHkcA25cXMZhZfJazLflT+lgVsVcopKgFOJsQo1/GneWbeX7ErvB+CaYadR/dhUSIIplsg/4xNbWs++m6f+xpzgW860Yf9pnFq9+okaE+PMFlQY1nYHxgGWnrFfMoKDcnV8BzEzhg5gypwRDYXIFZqqsMGPPjiKYh9Gred23SRlY4zUpoANZJpoWPU4HOx+e7YrgdDfsZhyoPchP00pTi+mWvHCzH1lxCpGR+BtBPqhMeMDbddoR3VGp32Sk4Qls2xFyU0myIOTooE+nWlbagEpbiRBZGzdW9iJDxivWkpxvWhjWTFX/iB9/4hzS6Uq/eWSdE7CIiXuU863IFvtY5vlwokgenDzMjqQGbhKwIMDSmzyM7aWycXOW+P5xjDtsLLyS8Hvvarzx7MF0k2Puwi/eZOlotVrXT+LQQ0Xg2KSyE8mP3NRGeLm1T9fEflW/vYBtf3+md6R5LKmyHwi/kZ9gQSpqaQ1hk0g0wLVoBEk5IvtR9jT0Ov/UYagXjpSP0BLHzW0X/hgSvMSqKlKci8ZVR82nvpQ5twGk6gbqhbpLBTS7+EsmO1A+GmZeG4P9z0OjOd7riEoAikIeSk9ijrwqjYbMCodS+Boxh+HH1F/QRvQ7mzVInYQxmPy6mq7IrAKDUb8BNSVyhiU/xBZ9/qeLXHy+YPcYFDjY9Fn0yTxbdgNxKtV+fwa6DIlVBmSQrJ0pKmI3DsvukcKEIBxjmN+mZf7u+2RkFEIC5b5TInLfyAQpEwjHZolfz66yF7eTAd9cUkxqFOYv1PBYgeGa1m9ETWMWLCPey4zAy0TRMwc0XS02oAVXWEvoDxQXG+WYFtAfQ68oSOPrvLbAhQRPz6TOmzhrzgUVqZsVFOv2x3ZoPrJEV7pZUrSvayaDqOCsSrxekFEsSeyNf8sbSHxobNB+tbdMO8KRAgEqy/C/JcfOKmU1+WoICWqIcuSsURaWluea8fNq9jkI/srAcM1Z/3sYV5Tt7Kiz3O5TFXHRUvpXTR3/TfrnysUPO0RqKJfXbJUgy3x7nE+t893kThmd1VzvK2QsMRnL+qb+MOqZJu6PyU+xjk1EtE1nSWCVjNd6TDVshOUdPeDOR+ekjNd5LDb7XauGCgUFahkUww8Qo5colojcJLtpbMZ9Ge+m780b0py/0hfXnlTDeCgf0/OP339pZcBIpYixiTai6lkah/gxesFPKH6ZPyOJKTG+2CJkTvr9nytZ4KeyQzK8VMm32/55Qx/5t6Yg+RA960gPlhgSJUI0PhJTMsYmfHCGRSL+UOgntJnyWYrgWIlrKsT4AtAc1ToiNSBHmxj/8uN3u/jIW0iYy1rJoNpj3O5GvRdJ4TBqy/VkiSxiHypdxL9EEM223iXKEMXrdpocDxC3HA+oOJSZdlzjQKqXhWxsFBTI6NlQ3ttLyPrY0QA0kw2zd2DYtdbHWaWGVQIUrvw2Y0+gyO/pIEA8ecs1M43RQ12iwAm/3b952hanpbt0l6xt/UagDyXIS8gKsnL+yD0/yStKS0Xkxf1g5YnEKgoiI5cMdsfjaEDKqCubC7vexgIxdblbCcuWJG4rXD8fgYfWqMrTgRy/YF8ZJc5e6AFcT5QedX4HIlFTnorHI7EUW3PPUu2uQmf5JccwU32SJBZCyiDTtzn5zkr9VKmOvlSiZsN/an/tcTSxERRfJARLord1529CIMDZyd0OrJn68kL0bC83ITNx8jgO36Mbmont7pDNg2/YrQ0voPzwcYqoksFPKbiYelEOJQJblp4JY59VWqclnsGdRKWz+dEmAs9MuqXsh+ApvmxvTv+Ie2DdOciJg3q8eI9MoSp7p5kzNXb9Js5mKeiGOiIGIs19eeNhzKgwKsrZ0MoDzA3zYkOSZL+XOKIUEJ6OprLcFBECdLg/SF3+4kH7MVoDchuptQGZjMT+IhueZXrfacDbG9qA20TtMKYcQ98zDXxVQ9RUMPUR29NfPgPKX4vbjSFU21btq/hwqWiuy62u9VfiF+don+GJFj08qM7XJub6cjioVMBWcMNga3pO7oy3H706uhT0fIezRqIYr5MRGPpkkDFl45mKr4MYbHxXriwJY4Fh4APfH8guR+9PLEcIl1QKTvSjcVAs/DGjIt6cgPz0J0fV9XIeCQBP7rkoIlTmlFjf0Gl/ijEoqYsLk/a/5C1W2LMrmzRKlTFU6vnkGri9KYq4JIl3aYTuPUeZ0JPduu09fsEWtV5AKY8kOP6yf+15tZSLHfS0+FXzoKCFTUEYSQC51i2wg6iE6ltyEEgcawYgRffzdIEFluWh4QAs8OhKSvjtkmLIFe8wxED+Og05z/YxAOUJ9Nv3PecCLmaBBss0ubq9zTp3Z7NFbzLZNA8tBwv/cdEbnL0TTC5JM3sFKy46m7prqjBvVa/sP8B+TddAARVbCgdCBCuAVz4lfZz5ls775bP6fqdI1sUo+Qszp7JVB73xMyUnIKx7bCm5WY2IfqSTWUBIrUTvgI8CzGoJWFjpftjkSbax1KCrLMd7P5JYUPG7oCmpe7XlPeJ+LoA7fp8GWruXDwq8wrfUPY4wcm2qQG4bY/cqC+LTkA2UacgqD3Zv7PnOJh51zrXXBQjT5pqa8O0FuWkdvX0fmdjXYQ3DEXurUeLCBQP2Dg5qg8e9HAAkNABh3e8kRdS4AB+ucSRRbLIUWESWOE0Q9TcMwGPViEBy00J4NhD1zNQQ2xI6CYwmhKvcCpkAP5GfTzd96+FcUBlFcn4TCzf5/oomQpN27XGIcSBFgOirRJst39RC7kUJNdwg2Xx7ttJNj4XR42mmAsmh8DLsbHdNrIcMJSPPJqkSo1pZHV3BJkibyUk9FvdvfXXSmr0NWqCtAIHQ1VolgoRocmxF9fCQgBypw2FJJO4DsG5gYFYcBqXug/1TYDP+NurBwCrgBLQO4g+NPp/1cLdmt2oVYsPBKqTOx2pl4n9PyHXDkLTZcNZtLv6pDsYbKRzN0zUmCbBU8hkSbeBApbOBRaRKCiq7cPvfwk/VehaZOnjbXBJApTb9/GeL90Qy/yyNMYmtzYu0b3bA735idIU8yY/2nK3AdvW5DkvZB0l0OIKOPWH/WYGiWksNLfXVig8ray3my6Xdw3sBb1xflSYalpqPiJT0cgZffTTllQZgV7RBjpcg8h4oID6LvnZB4RkAtnfVjPJfI3ijI10zw5AlQkYCIP0POX468Ll1Aa6Fd5ezPBHURU13JtjNhdqYms+H7oqu+AL/OGsOvmhQ5XO4EbceDclHEXS9EMA/J9efIlcscKLX/umGgThC5UqvfEsjNTuuiprO4cXbKFLMj+e6QKaKLJYN65q0cGhAcXrEh3EXcof94VJIyDYC7dGF0mVjPab0E7iLmznGrTw5wLc9939ug1891/q4AkuFpYdk/V5RHWPJ4kaXbtqUpJskn82m5/wpWzVnyUNf+7iaogmAIYkP8mJCm+uR3mMrHjIoJE4vy1OYCPb8w5D1D6q6/ctZfFv1cYyMQ1H64dXwxZJhPA8B1mn75eKy9/DZJwZH6UPjDrUL9tognKLNx/+K92HMrxoRNPdj8zP9vCBuDAVD2LNExeIvMp7X5zxINhwOPruWM2YPqCWxKH48/AVxgANLhmQtsHIr9Xi3PRERKmWI0ILZzRGRu9fWOUnToMmdn0DZFl0CSnthnMYZg9ksHFi0+drLdUkJ6TqK8x9XbYT03CSkXqRVvdwxtPJvMpZaL+FCHSnUITSX9OLh84zceaCfs1+Zj2ttsNMm+FSFIYYYvtZ5GJmlPX1/UNxCNYU5gt9aZet1gs9ElJod2F5Ula58WDXDYbU09dbhg5yGB4waoMx7rKXfbF3yJSZc//gk1pgQM8bxTbAo5xp35ttZUOQ+WEes0Pew/Dh2c8S8P9mK1Sm21xTiTfZtwQGmbm7m+pMaKGPEqIwCvzZbtc78Fa1d7Xjr93WMlHcIJ5k26jhAjcuhIJ4MtPH1MA5sOjCxrV03IZowTM8SiGPh5Kvwh2Ya7/MFn/klsehlhaXrbeCf4RIJVJhe6qCyfUupzCvk6q0eZa54B7hkDAuBSYfDso5QA3Uj+hr3wJDLjXy6ECJQxpbr2XTbvqpR+l76oV/4747Qqu5uZsW1gsbeK16v97D0b3FMGEz1b+EfhlnjfJaPK1GD6iS5QIMh6vUIT6e3Qzy8+a6Q+hzwVsxN8mVYcy7EcxdKe+rXVL9cqvFL6BsdbzSF0pR6W0jsplza4jwg8U6r0xzBDyZCwGGqcdS4tuGFI8c5Pgr3Vvu5XN8wSkYEHm6t7hDKDY0BQKW70OxI6oqQg4RBGZRxIesQedkU36EQ+lTsz+SNgNKVNMi/rQaRf3EdnvmPsinns35nNQe+auAxsbW3jMyKb06i/8dD3n3ywCI7eN6RyBdsCohZek5FOgvSRxaZA4nom4N2NGi5J+eP9Eg+unYoEblS9PULZqaRzrZ9JQhUKS/xXIHZcrhUQOtOd9IcIdjZH0fVsxSIxTSLevUry4eQPY5KBcs9XtI71pKORxdl1mnUY3YHtyu50FufPZaSztFW/skgtDYIIzYrmXHxUfiY8JMY/CaOZJpxsnZRiQflErm4CSQNqy82zvmkxZdzQggyZLLniGlNVRpdcP1+d1oLQbCHo8xSYQpYOCWrCq5D61dxETVFbBbM32NZA2Dp4S48Yt8tvjUjyGjRGkYEvScvVDFtA4qTv6YifqXNOZry3yowD4Q6klQfdLokM+kw3isj17mONQbx9Dzth5X/u4VmIu4yXkEUcD8lOirsPL6BT0w4aIsjVjbCa91YADGk0YWYxAnH3yeh/JiIc5p0lS3staFJPqwOmp3SqZn7HpkeAlGjdN7GCvCN59Zj1MFeLhb772nsa3EiFvrKwThxAFFvHvn5KDthDTtKxAMKcrRZBSIFlHmE2/JOgvE2TILv0YmTv0jV8Kbft6HUoxvdxtQkEgibRhqJPPHtdBszVfsGDGvvdFS2r9Ewv6Dyo3+ER1BkmdrMLtVyMuEZ389BgLOMMUDzCHxsJcKz2hXXyp6jNufRV7V1ULJKT7/7s+1zZmcn7BEx50KXWskQFxp5ZCIQg73D4pBL84gBBd9h5ciiFDMyxUg3V0kC82FZ9+9HUOnomf9uP24hjEukA9u6v+oivTmZk51X4O0PU633TqiJ3WI3wwUi0ejYXodoNwXD7KEO60d8RGt28BPG/U8Xezg9Me6DK8bjNfEUSYUAOek635NVJoiKk4b3YAN+m9LAjmDncy6cjkppAwri9nHdP7EEmAtljLvm9rEVODKrhee9HlkAs03CCnTfmm8vrChe/3BPE4j/tCdczhPr2pXJDjLUTanarQb3dKgJR/h3gPXzkBpVHHYP9GzqFqnMWQ5H7aR+BjCBPZYu6ve/39BCfT4en0+l4wx4sXhrg07iEPWPrTGRsHUnIs+Pj6fRIOm3MUFPcgBA9WrwT1spmQekhB0joEUGMpKCOay2cWGLOso+oR4hWsEr5xNldFXEEW9iPsipIridYg1xIPNkdVOO38KpOASG1Nffswai69AvbliJP1OCPT+Bg9waq8X4syJ9os26w67pfaYJeu7YijCdIZOCb2qTzxJyj1Fa+63qeiIsy8PWd5ae5LC+H8DyOhew4JMneWXA6tgC6GhemvNlod30yIIwUksqHsmbc/ylY6KMimEzxRHQn41tW8Svaa42kgLk083yUqQrcZcsdypieJW3NIrYcysPPGkHapgZaxRi6SyglYQDRorIN5uPLElc/LG7u8bz9r5hlKTzWOsT4fCXOMcuYnTs+AIkxGb8/RqXOfnWDjt5XrmQlKsoHPwiOGhfGq3seWKXXCEWOQKTV5xF+5ieWFz9n7cM12Yt/9IgXvQoOqcggCmt2UZtDl5xjZoT/8ohrg/MsmS6hJ6ldJfsN30UXOVgOF1E3W6Sq36lgMa/usMBuCAY4XOyB+ZDKYbJVuJKAR6myOldvKBuLZ/bHoDueIsr1+mnnwk96WeERQ68uFvMVJFk4WHBhUlWn00IjliiICi506/IudF5UhQBaumVCGk1ZrzqgJa/38k7+Lf0x02AHV88mcHUN8CZQUS8CQP+vNJrOGesEhDGMLvj4ydaPvIgEsr1kgY2cfavVLygrYY27OSGkJnTm49b+zY0TGmCqDiUQavFzq9LIVp3jFZHeO9N6iIKY3QiJRtl4kXd4UgtHnjsiLWPg5dPowOqssC2TH7AbvO2/S5o/al5uw4eChS1/Obzgkm1/MRhGsD0yY/Xwit3SLncZqmXl7ZaA6FyItbC6QjdEdiufeibgZ7dXW3aGsrmExhZq/0Js8zVP5++JF54ZrfxXdHZzcUvuylK3Cur5zSiUuvnL7RXgnNu6W56ZWsXGwfF+V85ESYJpofrlWl8ngBOk+OUYSx4SiG0uV6xDb7pvmuBFfKe7FmtclT8QCh2vkWvgQkj4GTP7f/kyV/7j2m7711CQKtTiF/aJRfr6cszb0v0LSx9u/UScKjQNDFRKtHHjRcRzwd5AQGBVJT1tX9PeVho7eo6cdkYI2okbfHnCrZx77qCy5ZFWY8uOC4T5MzVSpuNBI3uNttMp1J/Ynh2Ahwql7nbxdfzTIS+4BYNlcKSPfZs7Dcm/WCNM35vWAR/4ld9JT7Chuik6xGbomQ+p5L3YN9Oc+jMboS9Ew7BBpTCmzs4bKxAKkyMmT0MNxF5VL6lBo3h4qwVYvJPUNOVk/UOIMpr2JrkiDYE0Ui4kRT4EujS1t1yA8zCqP9lYtKQ79Ef7tsHmiQ92PdEl6YSrLb0ht5U7IThAT9YBreePwtwGo8ycnJ54hB7i3g475Cv6m1o7RWaw6xHcaubS/Ddu4X0DeOou903LWa/AQU1BsLAllXX+STPGSeQJ+8qlKr3jj+ig6KuRcGdmFSRGTI9AYx9BobDeJdBmZScDNGHFzCTHrriJxexY/n0qtKKvRw//K8HlHB4aR8LtGLr5P2FZy6BIoSIr0X4S24qjGVlOvNAmpWRAsTH9xKYAFsWaF11ebGspFms1x/0YAcPPQlMGDsnZBXN97b7Ot3XLEY3Q/b24yEUxRqY3v8leUXXBNiFUwqAT5aCrfmyDZdD4q13yLMjJ3miM4wiM8uWqURID1wq6DJY5R+9wrB2FnPC8qDFhcZFVBxgl5SKA91cWQTuPm2wfCluiTVk5kdTcIBKh1Fs2wko+7QbinzI5zxKsHY8WxBbwo4FZqZOoEzi3xwlvXk8apXBnqRPc7H2inYYmDRvkz1rcIWfKo7CPbtAMH3qg35rOokWUa0z+TeItyKffa+i32SU/3i3GrnT2foinovrYpb4LMLpVfmE1DJlRPmbPzGwaur0zGCCZT9baTEbiH3hX7h8Xrx7h5rrV28WeJ2DXcGn+6JbdMBlS35gOjvs2G/F1brhS6lR6+syWIFb80GVTrXv0qNxfAFB3VFeacFSRCE26dZR7mAKVoaLRKlnUHihDbrMlCRldRHbEveR4hJuVQpU4w6IHBeMHZ/+W0h/t/G+DnCxOLwEQuf1mHnUgr7bDX3sOmTDJyCdZXaRsKPGLWo1yQfnWxWxc3kOMZTq128vDjK6LlI8kqDhH2eefpVWvUyAme3j+Mqr2ahjkxraclxcDb57NKevFoR687NevqfM1yheQ7u6Fp1IAokS8niWtylvuUCV6dYtKoQ7pQWcgyl5hzgYjaS+JjWw1j6xFJIY4HGf/Qr+wLnlfmLUarXRTVNyZeZdm4G4Pv17+BtcRxZn0TYGfBfINlltmsyutuTmVYbO/fIk1VpR1G2MrEw0N/yx1pm/5dyxshitnhttZJ58SQClcRSxF/hK2LgYpVa1i/87WTaW0QYfdrETAjG80wAZas9fvU+RUfKzL/K+dkLVkUiun/NEBswq3vQ7Z7kxbbjFUUvEG2GEfGYcephFSxf1bT8T0cJGgWCRpPLVDSYX98stBxg/GEMtSzukvwsOCRHIgRFMST1xhm6PFm0wNTu6smBZn9kfp/KzMXuq7pHXImQrT6H+NhQGriQTlTSZBPZXv70eIQS2nV0vgIr/UwMzxp9qSQRlBauaWD0DK2wI3Q7rgaVksHON4f+VAEoTx48WV1jegx6zpmJ7M52A8DQCUcuVJqSPKicKMdGst11xLknhTiXVNiDY9yKMEroEX8OM1xnCLFGdG48kjUCG0fiKG9EdOmzwJb3UF+o5MCKZDVvP9jniXuErXKziQvFB4zJ1Mhe7paRL/KHVGAlUNnx2wPUAOtthQ3mCk7RzroOOCi/Z1GpdzDq/TNLPMJZMGmPpQI4eGzAIONOxU8QNwJhrKAMTdG2FMeLAXF5pzJaaGVQKJ4Sx5BVw85WXo7NF6nwAvCKDGb5TTnTObI5Cvkwc7SlaRvffK1qk2dOtaA7UNal5ju3KiRrhV2s9ik2OIW9Pw29Snt31ss/69Djco8hqmNi4h/xiFs6ecO82LKu/ay3CEDnfyLxOQqVyvQUcoih82UwDu3GbroHl3xvlujSmTulVI7dbvQAcuEVF/U+oRtk08I4IHvptO7/6P+Y9IVMiVwGaii+dm47Ez3WhkM7qir6CGvaIJxk0l01ysdJYLsaxapX/h0a/62zTJzl5feolQsWdi3D6CmMVy+vic88XmZiv4/ygj9nOwL4V3zuyTZd6wrll3o7C47bfNoRkC6/uCoeoO0IW0CNSVtN2jo3sFBLv42hST88CKnCvO+u7vncLMh4cQ3xnkqjMG+2gt0NCKKj9VBg0o7rU0BrDyLgcJ8NtiYkJAcGAFiYndvcWNNwpuBdFdhWnZMMfmWlKUUkArvxLhUimG9/YU9SH+hb0OPvn0PyqssdhDp0VYa1a5bEO/SMpI1KusFIyuI/gP5Fxz2iFu9e+ZTMjKVfQeWw093Is6HpKOEZjQbIF/IFswIahV3G6Yppf2ND2vEOu+U26yLmZg5+bwIlBaTlJAgUQa474rVAtl6YkhUZVK+rPGJAWfdyIgna5Y0bLkCVBJc2Syz352woc7OUAUIxdLJ6eG3Dj1kz8+0KfqRrrBVzgZXo0ds6O3qLRfN9YU45lCwh590/HJfX49w9G6J/Lw7eHhpTNpv9yvhhFTeqp410/3SCgHcW6Rnha9W6VsU8ibTsbRSxYHo5yZ4ZnVK++e3S8Pi1Q09tgRV8HEYfAgsoteYERF/Ssl/u46prjg6QnA2asubEiATu6lyFe960d9gZZgLa7KLAeTw7QPsHBnECmp0S2Tn0Uw3qPPH0mbl7DkDIFoH+zbTAChGgdBp43FrGPJNdcMFlsEF0ev0r7UwACySN0cjYJg8H6tGjpRwy/yeQJWY2afXhW0ImLOKFz81XneYtqZa+nQVYxmTpr9BcpLt5/KUaC5jQbaUY3vU/gwLz9xbVavE05WIQUG6hk3fMQ506/9lbluhYwqPhanAdhiD+9MMKzFAzKz4m+4NP5IQ7EeUPgWry/yB1WehIHj3Deaqov4PIvBZPIApx+3gKJSxMAYsLF6ybOlSdf4rDnWw6Pgz+E1p9sGXwm+A79FiKYmttwb8UxrZaUO/0EN8NQPK18XrDqlGRMRaq0hmxxoBo9dYmt2YxToNDMrf6sQc3YPn10OXfMOUf4owwvhXXP54MjolUWFzMBh78wb8yBLoL841u1MkH/to4j1TAY/42FD8iB+tADXIInFB3PIEljOP4xHeg3DcJ1vl5boZLTiheyywWxAVpmmhllOhmd16gi/XM0WCUA+ow6GXbLxUQROwFFSY9ehnYFhAeWZPLT6nT4HWp8BCLRhJJcfU6G5o4wLuutEKeHW6k0+SW+0p74kPXWilp3gCfrXfYXDa1XEgVe0bScu0wpmPybKFMec4d+deRdthQ7hCvAmja/A6wOEfuDz1tsyiJynPQTxDPBgio18dqi5404GeslBlRP0d2cVG4+NawKLsTNzole5ANxYDUXv+/TqvfNA5R9OwzYek/P05eKfAF37rEWsZ2zZMccvrDB0ZeQZ0Tik1cerm+ETg13dEBl6OEkcXKeW/CpW40BoHlt+ruVLP1wAeeSkdr2ExYIm71OKxWeurlHcI7Y9KlDb6G/zuGRDPhOo7Yr/b0v3Od7PSKosJeudl8sSs8g23fo/KVO5bCxpval8i81hhCb9rFSC/VAVjxYiAh1q9MTg4XCg89icTe8zI8HM4uexhPqcHwxMnG7tTbDJnuPFkeIS8mtZCS30W1j7wpj0f7RVfW5Ig+5nmf1VOD2EeazI27bKpYdOcjz776TdbkP3Qct61eGCuugJ3U4GDTeNOxl3qCsIQTTA5rbh5dz1Z+Ip5GjHiZ3nBxQGtN9B+dmwt3IiIwqkL0WBjPWnR9gYnZVfcfYwvpJEtJpxb2qxOjCtIOekqstIOca+sLaTopV9SpAqyijmx0qRrY2pXrdFvE6FRSPT96rjdQMMGuSQU7QuDwy+Q43omK4Xy7QZS0zJ+rC9+GTM90KeuiECO4fczbuilDLWC6HEg6CM7uP6+8+eydE48wr4nJJukR+C2/NGh5y+lvHyl+nyeipTKDNJSZkSzFmCu3O63cZ8/KzKYtO7l+ZdIjdcZdJLADwr/0799PvU+P7gP2Vt0on3cPgncHWJnbPK4y8HNLLEKzsoGp5MsTIfswhWVst4I0gvdmVi6xNWeiGhSFxL1g6JFvHPSOKy523mWTtQ70rmsg/y0gLgYuZ9dB2X8XRmOkEcb6LTb2ciSVz5am8wXCiB8d/ncsQeFrbJ4RPtCwYuy48pHXPmDC70M3pMIbrwM8wXJ768Sz/w0deBKzsEhjCNUwtKEpzScH0zd2HwWEN/8udTPOI6v2O9ET+raWnFxiRj5xw/Ug4A7otQBYqLNFHjrdXp2xIrJ5m7v2IAbAm9M/+jRMFh0QecFAeezV0M86r6MkIxbYUJtcYvtFkreS3nYuZjKGZW5pBZGZUp4pO1YAIV/y3EX6SQ7DNfuavrnmjlzEmjvPWwiFBgW5lT28VDerapgJvyYsLWGo3ZjqHqwJH4DhoHzebhrTIgc1HeFZ8f4MM6ofa+q2+J4kYQWJXrsArwzmlTjEPfeCBkyhJsJN0HvlASATt2Xiie15BFcxBEpkRTdFxdgq1+hyGvzbj42tOH+ddLW7DGhV9p4Tvzl7aJKm+6j9BgYxeH8zMaNofU9NSgGGVSYOns/O+10hqGS2wDqkUCpCu6R2y40HE4L+rBwkyIEgu84kn5q76RBfNDzL+9u1Y6L/7DnlUG0r/vYw9lIu4xR1J2kHJLPmhmuYG0SFOPLF5nZicltz5UQ8wduKVSl5IoaGBNYB+2E22dVmsKmQ+d3kIHFGrsCzKUBr9iWmpBB95fIU7pKlDjpJ858Va3/XuPFtoaAKASqrZLes4swOUvG26VopoP/TA78VswG2WJXlbJIT+f6mNtSRBEYv/fRHUfE+qa8Y2JYjNnK7FAXrGSE7UuLU1KfNdL16sbNR43fBIMEGW7Z4icYtsd7w9kpGM7hmkmA1nyeGChC+L4Wkfpq9LUY1E2/lip9fuhYt8/ueGYyZJwMHnH/ECJIrJfnLF64wGDGb8+YdeCYwJmjnRcDv32pE9QR0R0mTiVK7BWdorvWBSCpuJAVChXXLghCu8QzYonYMMpVV7bez++SEdt+XRC+IyUKv4IgoPRHUYwemTzdhn6Jrdt+tgJ5qrGGdPsfN+GCUEqKik6esgzn7Ghk9r2M6OhntLqvKgXoCw8yGBtssKLK86CBYCJ4DhhopJ8WhwvvJqrcKgGRSYgbTyirqlKUNB+L+maics6nA/+3rAP5O8bjmh4xVz0wfn8JLOle3n+KUvsiOg29yAcQgZPS4CFxNaH8+MFeWOpLB1rC6MbCe3v9bAOa24d+Bl2qDCKgnPn5RTfVtKoBBRmGgbWacCk1V931zFn5HELE9ZIJRrySYL0FhB0SxaMCq/A3b7712+nmaFyXCnaPYg+dZFcyGtjWq/j7DyCSyRtiD2HBJDHKc17HmdVGB1V1h+cpM4Qz6cgbFHN940qarvo7VW/UZeV3ZcRvS2C5IaQgodmKcap6FfbdwiGnv8eRnIlZ/Jyp7dcj4/iNg1zfPlEYwabkVOY9JVW7bdjrZ0R6jNygOr9l1INhGHi0HLjJN5WNbNn2IuTM5NycS5iEgpoVNuEoKKDVcrdOTs/sN1PuOUYwAKphoR48Kp/PrEbgmlVYp+02JAOVrQwnPHZSJeL9TZHeTDFQakMFSjrzBvbPnoaQZxs03VzAaDe9j+8V6lNMqFSrf3zQwCuffFbcyT1zGZV4UuraYy+oUeG1cCTehjLROJUscfrK+zBEKtFnjGseOuZFotBZAiNGor6ShKD58IuM/tLbyX1T5S4ivYRnbFOTeaaU6LyFvgAsF5zggM0EBr8U9UtRI/sKRhWtmftTiBGutBJhrq+UCPd52jaxElXxjOJxUc1+gxrHAPbz6LsYXWFjAvaTYTt6HnS3B3w/nsh0XbwAzkgzcNO+iYBWkfPkee27bw1QqF7mXfsJqjlAWHmbn5wOerBZlErk9fHDYplJPlJP6rDVgm+8z405HqEBpA0S6q8OK02IJyerYLHPmbO2XrNkEZKVWwA91u8tON9XIy5arzoy3arxdBluIJQoRuruh0XH9zN0AyVwTJTakV6q+xbEnsoKbLOJN50Ji2+fKg5LLSVHK/zcGIVs3Asqp2SKQW2skjn/Ww0PfEnXgu1slJmYXLftH/e+fEoWdj6kVo70Mbj6rvtr39WUM6+AWC6DRKm0IhK4FSBgKKIcXP7OFRPsYV/uTPb+54nO9aicMbQguAQwtfoIX4H/I8FEf4EWaqPE1kOcuETX5ENqVIfgwSxLWsgwutGZaRCQistBIiYebBVingGNj+GZXAIi5KO2OSTeDoq0oxdg53t0vBQlRXSzXypNljzr623DHjQFmXgLlxDG4KRRA1YYiGUGm6OiE1j7H0gYWUnrKDUpWzS5XxecZc6ipFa/NftxjJGbO8j6oj8p47NQFZYYEhFE9/HbJqR9iQAUIifZz5D473oRXDtFR2ae6j0B1urD28Wi4FPc49NGq1bdJoj2OmpkrZCBWQnD1X1bBidIFurMd06eM9/7eKaZHy/7ZnmiXZ1v6CdF4ouNMWtWTapKlbMC2CzfuiMLNEMrDwrp8M94mWW0jJjNP5ZqQ1dwQ+5aaPYnfM9pBS8lxIKALdhTU1ajSEXpY/joFxJbhvrHbCkVc89bCOBNejNQ3JbYg21hmhbLPOnTnJOE1FAAd8AQYHNvWOHDnNJIW9yDEX3SOyazJsTDXuxzfbfagQF9h87X+w0qVcSUY1dPJCE3p1HPeC3/fopzuww2mKDfNyDDqfS302vS9yERyNm6G0zRr2AQOyPxCoRIYeKAC9xJOAtOEEoNHaVPv9uml6q9E4Gtjibn8v2i9StJTzvDG3Qne1dpHA7cu7TAg2i5DkV96kNd2Tja6KPe5ce27BzWAY+XGDBCT3Rj2bYr14t2jIxnLTp5YRr8k7cx4wu2mwvPn7DEz/CFL5+d58kSwbXcdZtx0WPdhQLHNrH97Z8a9b2PGXu9vVS32DODQzsjWsmqxsw1fQ1IkVLNCf01Vhe/9F9uFRorWPdS4aSbyI1EfSdQqOxXGa6JAOEWHoha0dkjWTW6jw18dJs0VjMouWGsFydJ6c8gFhnQ4z5kCJRYvYA74aGx0hUyYkJkP50UD9eUfWsiAANBZEXXtq8iScNU5vKd0xuTZP4YXVw30+jwEGZL07s1IT+OLSiEfpx+3JhYk5BkOKv5me9hpjpZpXQaIje8EDRRuS9+FRXoeFjfEym6w3mim95d4AndJTAFBygfdlI4P0dWpPigzyAOWHCNb6TzyA/FljapDnkxXtFTiv3+eA9NbSQBQ03H81Q4HV4M5+LNI7RmQSXlTxSVM7K6PCFuK5HYnb8AeJEOASqxT8sykbsUG5uWkNJV68trxNh2uxpqfG3KChHYs7tUj2z3CWkRQo6rpf3KykzIHAcdqsXf7ZzQEmlEm9l8nbv9jqDEUInAbt6kgWzE1FTVwP8oGTYXbYcRCaZ12AsXsbroZH4jSncm7QhZdsMOGREzBdg3Nyg9wv2J4W0URo+KJiwkPaV1O06r/+bIzPfDpZObnDZzLeORicTHnD4NRV4JCSMdPlV9wtyAKci4F12GAJ2y031679hE2M/XjJkhmiZex57NfGQNuIwkkaJAIg9kLYm/i0gyLh0P9eOscff6RQnHfzqsDlYYu8GGlT1whU1Z3qe7vQLYWuN7OrLpN0HQtm3do/DzFc8+sC6q64YyiV+KHYI5drsesp1pOJz24a0oI7Ca18rIxQSiFsJxuJQpFDs4IGKvs/DLwAy08l/ftPIm88PvRtImbk8LvpOVd6TLeJD+5HuX2fy5BUBUxdMZMCJ0FsLMyNe7gTmErqf4iyZ4b/nG29w32tFFWwgTJtJ3u78DL83+RyBrd9r1Io6K5NP42+5wiOxpV0Ehsa/kWDUQL3zcAEjcrFIec0JkRZ8emb/h4A/OQhG+HpRADw5HxNEPEpLYfveGB15soLDWgR2VgU3pSrlp3eB7qDlK1V0bp8pg8vdW1Cog/ScVsp6PDNkMADGZxBKF28SYZbCiXQ4rXuh5zJ5ZKAFjuzMas5oxOk3cl6w9BJiB3LAgw4uSNMuKFtQudeFnRhwTtOR9tH+oBPx6Ga+jMvISSPJLP/esmrLkzq/iuJdorg4ERwbQLmHwvGMA8HzWjIQwZTLCJChu0SnMX5ZetsuGAzFPu0w05AKLaRCicgCL8eQRsY+DNlh47eAaNrEc09NoSyCe29CA41DG4PK9RU+drtQUuMrTEQ2bVCCjOtE1c6jL9JFe5vtwclJAXCnjDDKTZFJcluW+2tUI+vawtRrXfkDixO4qptVniW9LOWSGwVbJyf9FdBYSL6+pkO07sU1v7xdbrLpFAZKjipW4P3pMRZuQks0YzwmXtK6KMx2hPIQDZqxsa/RkXqjGrDUSYdXvV4CzRoLwSTiOf7m1i3n7DXxFl2brVzY8cIH1gAVjuQuqzZPuC7FIvb5jF8Ke4D1L/DBphdhht4Rzl1vctV+r7RpeQAVLiDDxiOMzopE7ECGC+oi5Nec2wG+plx8Nq5TTjr/KgRZym9w7XFLGEkaOLZBggALOM/uHGS+WT2MfItoNWyRXWlrF1Bp+QrAVOLB4ntQb1HKj8tgoefTWh9zOmUT4K4YPZCidx6Fs+dzac+Un7XBXawuFuNDzSfpXWg7B8/vJHAfTQzMp+QH4CLHKZw6knAuOYMeKCqFFwZgbXWVTHHE8z1wazOmWF62f/t05N31Sf7EyNOVvyyUpBe8wb4RhOOPwyW/v9RvJ1aGPZm9I0J8jJOcBSN3sjlEhiue1EEZ/18wX0hAFdhZ3WOTn1jz1omfd8lA6tGdixnrP+aYWcDFlMA5PXDZdkWKG9QpdNpL2P4tECWLb1fgBqEpt5q8wqlgdAnSiA677w16nLG8J4tCwIxW5VXigD33IUJqLAx+wY7x23Xfcaoq1T5wDIJPQouqgwaCcmpzdj7i9Xo3KRNyrllJxeS4sKl/oFu6uY9Zq1LDaqMLkIsdFy5fzxENTQ8AtVz9e5HUJnR5hzEP0Riy4KTmCVaRXM4X0XHGYbETRx4rf4D/rTf7+4HX+JTLpZlSbBioZloHIuSKJra01UIH/xYHvaKyeH9YaG9KHPX7ZHZazaKC1oHFDijXm7YsPIybHYOK4cA5fYkUocLOCV/nGxduthFAmxWZ1n+t53rzqt1NVf0ZOeJXGKA75WJK1FG7My3cAqK2GuR3I7/reoPvn4cNEcrl/CmU4kheYAkTl8ZYA1HxINkG1BW//jakHkJe0JiNs+ycIVDsNsAJKe2Jw/1co9Qfx9yTd0ETO9kGGgFA3DT5tAL0zb1fRubh6gTioyIDONAUdCBdDM/piOlYVlgCwihqKo9hMmaVc1DWraItEERZSnaa1bg1BMw2pfDqWp89anRAI3/6ys8iC4h0iveYwfqcSDsJcbL7SU9X07xPb84FlbOXeGyrweQAI8EmMTYyOmIm9amfhriQXyLRvus8Caesd4jVCdPzLUEaQiUfOSmLPPCPkVgAbaDysVeBd43ImfOg+d88YFp4p8IKQuYzQM0Ga3imV4330sKE7Ov7ktJ3jjYTluwom0dQ/ndyguq07JZ16co+MnWVJnLpo6RKvQNeadno3NUJ0y/VZXNQzwALOVYyudde5+FAVoIT3NdJ6UILeaObVltFCp/s6+5K0ZCuGdZNKkbWUS3LnV719dFgQrUviw1OolXNB/HAgn71Dc+mWaqjfdT1kDxt0ebBdJVdBn7XlNZU/FYjfiI1jiN0CCfN9S3gu26kFPy1plUd3qwlvE7zWFY4so0/y71QxbxEHwBfuwNNfmsWDmgXWsVnytuDfhm1z4jnLuBa10bPQOIyo+aGBisQzIGbuSFKfxpqHGzsNY4iEDKy6yI05jJsGnYvpYcd0cO2xRNT+rsvHA/QrL4hRVfCQJYCXmuTA6LN7JRTGUB9HI93LbfsL3T4nDuCdLHghiRaJClQyriO/C59k+FDadYVd/SVPdFL/tutK5W/uLL2YxCCoElkGuup6pOq9gGUn/uUZd5+wMjRrPTFHmcTMbDeuufmUdLwF8PHHfvSgf/ROnmqg78iORyuFdxPEuV+qiZPSQuk1aab/dBLsH35Nl9gSjsadu4xuBFXqmoSSvr3TMp0DexKqvQUov0E/QbklgaMJvKg3tcKnY88ctLPqMnzTyIq1KgJZZd3GvqX2k0EqEC2O7BtCOkNOqCOYaudZ2RsMdjT8DkYdBBBWY43dIE0o1k6JY1oiQKvIHS+r/jdeLsXyPFehVZttASmLMuH1kJi8ko0ff56QnswVXZW0JpfukFtU8IwxqgeQ8Vi4QZhVWlUukPAJANE8kLvA5g54cO3f8dMbn4gf8kirBver0BKhy7SD8RfHkTzY80x690PLUktZHK4GQnvnEMByub9Wt1caY1XCbA3jFmcWdJTWcYK9kStwco5ziOs8UqMGFTTVLGf5mLfmSM4nLZFig8d2HGGuC7yi9/bqrN0HCUrtkdltkvrMF4QX3afrVYMsxiuIm8jQgeUkpt8vX7FeI2KN3dBIuFj3qrM4p3hHTdNVlhoandQcBjyzvj7o2VxPePfO5ooPwlyaDFG66th36N7iWTs2Eq+OIWKIduWFgwWP3OmiSEqt2dZLOx83Qi4qyQlW1RSPqaUl2HdbvkVukwLJor53Eb2o2sjYMawUTzcsu6uQ+6hlV6weoDnfVZlfmceNmFJKX5LRy2gSxLQJ5XBDNxsDGzSmOlfTsAPAnmTu+JNYs4U3u88XqUafeKkAUCJs33luErVNrQkr/Beqy4Gr+y+RZrnPNGJLEwYDpU/7mfl+EWiQbbY1Vyy8okvRF4w1nIOhmSF9faaGV14753UUWFfKCMjhtAbdnpqLeckv1F42dolQWzr4dNFQ2YXK7VmBNxkPC7fpGAXPiFuHSTdThwUOQdkR8CTNUPF1T4J8GUM0r6XjOb18/HM1C06uFSGqgkJNdUn+RFCkdfiYEjWkCGuimeTPitCg0hwihk0GCEfvkAl6KFj3x8MWS4O56mLK9HtJxcCVVzdNwEEOg62LwkYgascbUE6TrLhobqaWAyxXRSCBgvT9u3Py28hL1Syda3hPW0Yq1+7yUhp/9VmKekdCp2PgE0BS2alFO52ZaA/isfTnZv2pNcIioXrXILgI5+Iw7It+bPpPQJHfC44/26Bu4bKMd3a1DYEQdsyUde3AtaBja0xDbHPDYrqPlaIxRIBo/lNclmgo9Pjg3pyxjXZE0UHTpuFLXVKDEDWuSWFzt3Gl1bHBFVjL2dq/XsLaI76f8zxXrRXXyuc/Xn7InfVOwVPYyyZJnS4PA9KgIgC6ETRMlibiSIa/kx6EdHCvO1YW8Nxo7SlLB+wGdNSRJxVW4Rck8PvO+xO2RXKfmCoOw3gEjyDghFqfXTLKdVTr6lviPpGck1Q9OMkq1sd9YxGThvibcC3OKKC6wI29UI0wffP9D2hYxOP1DA6LUo5dUrfQevLIphVMNWk8HIPaGpUmE+vk0+iHrpi5/QIJ1p9wr4S21DhhKLRRhde4YF/LWac4mAfWKTUljbfKUAs3jaAR52fpcmamJD0M6PPBIXUdP1KOSnf9UC5AU1Kc3LhFX1MS1W2LMl2OnkePhfWXbZbQVYRfjj8iSDwKth+8WOTrFxGQ2YHz6kMwdRuHrCSZMBzmczqJkkMyiQuhd58sB1KiuJ9rGSr0+vQmLDisvVW7YYaZqN+dnsTCCtz7mx6EAa7NVvmIeQWJJattl/t6/wWQazyI2FC6ccEhg+Zx6mK1nz1DxPaEYKdYXFGexB1MTTuwE9SlpFF8DYX+kmLTU56yb3F2lACR//wfVwFl745/z66SlMPszlUSVSL45sUSb8Cs+0V+S5Jd264uIZtr8TM7V5Wy4LD8zN+ekiZ1hLyTiJztURpLe4y/95N+1oli5+zaJ+TiXOWEx8LwsOxrhpn8BvdadJPeVXAjXxE0XqZaSaqbdBj/cY7cudZ/v918POWr1OSJu9QiPVQYp4BFdM6BB96cfO1SqhzyIZ9+tVYDq9sCaf+HAhvYG6NZOu2/eOJb1U4GUZI9Qeyg0GlJObrHx+gft9XXeAnKgkxv3oBhqYC6scTBuNa89Tp0wQs/Ai1eWqsi+nn4QvweKy2Na4xYWynP8OVLB1FsvTPJDc4RgLF4YfGjdWTnsirVPBp7w0lMxkxxo7RSrTu1++KYmMUf1rVGXKPW28hLnkR1d4pvy81HKhQ2GvrUlBI7s7dHzIbtwPkjHylFL0Ks2svHXPH5jwMLU8qWy5R3zoFRXgcEm2/CbL0gVqxjI9rtOoZXv5K+ki5nhn21/8sLzQlRWr3Gv08hOMaugO0mxTbwBsVX84dRyken2dxSPKlcfCBoNTf77xJXAKZwveyrjcbcnZ2pTlqFdDCGSDdctYKssTfGN1kYeGBYXA2YBRf8qu02GLnF7Bp3v1m6U750Lo7XKCvwmFCxHK88E3LtzO7ok8b6jXsepqmbVP3wi94cricyX71Rb5tzcBDDQ0Q+pHd7otk0kMa6rc8eqer+YhiVMD+tukZKn0k90nk4rD9Cdl2vRFLhdpy1y9IVK7xTDPSKCGSa+2T7ZKd00G0EbuA+lP7wf143f8mXdogldFDaGSUJjnc8SR/U3puzQg+Pzw/hBizvQdck2Szf+sgqGuHPz9/mz2jNxCazuOCLxI7BADHxkxRki+kQ9KVeKgZd/Ta9J7Y3H656ymWfeQLLNov8REysMocId1jHh2BGBPISScXDF3br7yVmYmrDaY2ync27hKGnmx5BC5Cb0EUCqnbcZXNyTY4hPtM3HpMq/Xq6+gMgrlW6HXu5DVi/DrJJiN7YOC25lrcHq4tfEsYltqHjlRoMCVNZ1Oaj0r51fEiByexW36GnH9FT/gHun8Ytzj4ZVZdEDMXsoLcw0XeBrZgeNKBqpb5Qru/4sqM9cdH/m3A9V2cWo9WUUO6rbJGNlqri/CNm2rfae/adWwtRozBUosxZK/y6e3JJ/he255zW85KyE4QZ2tBl+8qpuCpNkpxqSdAp8UIWuW/xOtaAw8wceJmmGCENMfvQBm0tVMSe+FdhJngJh23j4VKqSgpEEZClvqTA6DSuEYacQ87OKbK+vY95hEize6d1uQR3QQ2wFT7nZS7ikP23RRfgckksCPF5dTdLPnnwgD9jtwWMQGYek/mg3Jw7FynyGycVwGXPCkp2J9Xg5OFqgrvtsA/ew8FOMehjgOI+1EprlCNip8sXPzuGh3zY5fkEfLiWd2LYqxylIbHWOU4GuNo3fNLXMLLVzYx/k28Swg/upoKvgqZJkQEaNDYosUqeo6XXSC0490WjLWYuxcunu9e0h30d1pn5KpgVXTdlGzgbI5CNWtLeOuUG2NiZCQd0IseAVF1fq6g5J/pcnGn0HjXVvI1+Qgo61Mhfb5mzDQmtj9T6ODWOsGgERtw/rnHrdqU95rs/JUUPNcO4zJM167aoYLj2irs7SL7dDMyMs9CLD6GB2/YcVBg3r7suE3NLquLzr5hUr46a+F3M5xDhm88IotZ4CSCMjyHDcYCZwUpS4wK9Ok2Oya2hzfAh0+J6XYL71seKbtpci7dCUsvP9dZyM/8XRDmbh9QVxL7A0pIDEG14WnH7rYdtte4l6ly8Dce63hi4JRQhB7t/MaXWC++ugbmDLvWjcVTGfuOclBTNZ9jYi999F6Pa7bUq4G98hpXYHGd3Aa43lJ6XuQIUiCNVZZsDsN7aQd60zgpnMDCDcsvH4+2bzKpKdVHu/BQ0dWXdBEsPb+Kxcb0Mm51/h2o5Qh+hLnr9FkbgyUAHXrrfC5/ADIaJFi0thg3a0gFr7OzM52cDZn3JFDV9z48DRV7Q+Dd17EUjFDAYe2A16ebSgHVsrsAC7zx9YHCeJXlJHNaTBQR9OhzNrP551FSjS/ntO9p5GOHoByKTLk3z/9N/HYbfbHvEe88FWXYQWiiJJENJ79wW2lUaDSKQotOixWxuY03/A/7eybmcK2kgB5//cblnkQuEkA9EnvsoeNGu+ptmzLealSwd3RwiD3WRzU1e0HdhJEaUTyGGW/XcAfmTS9AgAAuJRJSIOxDAaO3CW1EAC5N87rA20qxFrXhOD5VIUnSh7+AwABaHPfSMCERh21GiXnX1sDlHO9dLm2e2nKmusAMTFonsvlXOit5ZfBbjIIBLQ4rNHzhj7nyaBBb5IxbCXgTuR0O9NFP3/qVEKJw8UG5kaBYjXj/r3g4XTFzdWlZxww6IBUR4mlE3LqU4IyDJwBgEPmOTi6CEOrTFCRAQFagmg5uppysLj/wiHcg9/k75yfV+ntP6ysP0y2Q7Yi7Rdp/dRRdWd7eE622wPKBemG/t8MJVZmYd+9WG6hSUw0T6p4ryqDBZsqM1CTlk/X9ebRPcGRLGd+g4YoftlzUSfxp9DRRRm/OFqxpn7dnOJs3vTRT/PXIxnoJ9bEWR+z7/2M7Du+dgv2arovasuGk3HtnrBIUQSUrLUarsmtNoHQibFW5hoD2zF1qgu45VSEMbbg9EFPmKmtDpoQi4WoNayuIAHb7OUAW1L8hjnZPSoaLFJfPSW9tAj2d0Cwb8nuioVLbyTfdByUEs0E7rvNhJOQlToEcmRH/Lx0qYHk8Xs7mCm9e333YLiPjz0b1IR0XhqPbCemrVfmwE9rvg/y/ZlZIH83avaSRqxMXGl4hDZ2rbcKytMarDNhuEV13owewtPjev2akZ05mbFln2JdGRfECwUgMQBVf5Wv0g6TDI0P2ddTTFSd7RSgvCgXbRV8qJzLrAQZihE+4j5ikK+7vgFgx2VWenVkWGuqPDDVAQRl7t5z/QJFw8NuRTOXhITGQcqN6Nbkcsw2SIqRjGw7q44bSB+hjZQ4wuu3K4WJsxv+6bPBistQnZ4+IaX38Myq3InhcFTCS8wKzDQxMPqNocorERx0Ioud+34UNt8Dd3yyQ9vbahlHcBdjUD0ojjT11ilc6tXyPHiZ7sFkS+Zn1z/bpVhbAo4Xej93c2IaXPVZ22lU1O8weVyjGzaTG60QUeTlkc16ar8T4OYdHRMUS3z4yqp4AbsvyPifq4anzvWAnv7i7oaPrEPaQdycMPr8SLkMMwXyWerUjIQJhYPejUqsIaAQheUaWh/PuLX5pG5mYwbDVFRkZ9B9Prj2zMvYt4NXCFMErEz9kzEZNacru7qNp1q+3a4aHjsIAONplF2Cn6S6Se6QnRNcp5mjMixVJ7OER9QzjXgqx/nMZu444o0d/CUmHcDdHiNyNfmBEhxM+qX2h3md2Va5FE8RZrna6Rf/d3tVr4OFuOAPxgzxhf03W/OnoEUVyBi6HGZuI4doBS3Sx3DCQPnJzux49UYELCJb5935hB/B4FsmW6NpqnxwcATI0XtlPjcn+9iW2P+TTSHpVfxmoS3ODAYy4qClKbytJvVYpGQ+vlapSqv2v/zX8O1eFpUFvluVqPGuRsKjYBv7vDmtwSN0DlJpbRfRK3VIPsQmBusYIH26kxvKhYuL7uwmqIE8N5FITaXiwEZvKuWyLE5yGnzi8tqzI8ip3PeLRCFz2h5awHbWPOVVCIMo6HUqPd2RMev+7GV7bA4hrP/yaSeCmwmoaYh8pV9uacPxTzFJpkXWI1rKs79cL4WECgmaLkrJC64U2aspaiVNBkJNoI+8N7TXwwPTKRWmKwv0nr3aXvuTtDqTWQ/zeAlaHbmqbwe+b3Lz8F+7hmW8l+w+EUeegpFN/aebngMxnw4TsFnESfVAHvHpYDY40YsjzEPwCPQtewluJD2jtSE3dEPuXBvCTGGZEESSSMGAAj4zNrajTjkRpfYmaoDM2ZLsDtfqM//xmWomz30OB6IuzEO1ZACps1q7qxG6xpZm7/62qFjklx925/pdC8lTrSbmXFrJcxM6ouWOLe4VY1an6UzbZygPJkQvk4d/7V/4jq5h9d1aLpE1igg7bFmXSPT79mpWFbiHcmnKEtAHiuvcNT8M6iI/Zfe6Q3eUzH9jGB7z0MCONIsMO70v1RqKyi4dZLie/Q28H13+f2b+6yoXIf45v071GMIm6pTLoYHXxLk7kZSJLp8VdRjOsDm5adOPnh1TtFKYWFhSel1RKwiZURI/iCfpJh3Ho5E08uF51HJSPKR7ZTT6IRQUr4KcuEK4rE8aH57h52xPzMZ6tl6gl3/UQ+ImJPQZUzjxb60YgwnvNA9qxWFq2w/LuPnNLEQyWQi9IiRWlWhZkr9Fb5o2tPQjPW1XgBeRElmIJCrAeRMJYd6KR0DA/FJzuodxmXFO1B80r7baYg2NqywGny0Ijq8eircnh33S4G5Qy76HyvaYuVlGpY55l2R4rFJLMVxp8kMK+0J+VMKO7RK2gNapSzyAYiSbkHfrJ6Ch5tZO/lv5JZNvRqNHR9aVSCBGYn2ZBt7e/OcPIkQTGaCQE6qKRwwt61CUZN6H4y0/u4YT80leknMyWWfUyCtUZK6wSuH8jV8Yt34V5J3oEV+EQKryJ5VlTgDDJfTcRira8E+gYfWBPGHdT59jmkoCrCrG7eZDo8ibU97m1Au5Q/bMHs6cu03NE+M3x95J1H/XWWqGoQUZPyc2uxr1bQdZWhy6ZgC6uQT83bNcyf4l+379RpEMha3BH59mEsAgSeZoUco+8NyA46nzRs7Q1KcMECnCfq34WMqZuvHXzauSyB1fQRodJc/2ejH4twq0E/WmqVNpehWMAUj/+RXz1UNUPgdNUc3R6U91CvVnvxA2jyom5c8gHqUnXp8BToMrhNABiiHXmmExEdAigYu1/yR1BuoZZlkr49GBR/Qua9fy0JURPfWRnvazN5sQVEGqzdUGfxSikGw/gpQqnx4Q4D4suPCSAhwG2XxN3w7+Ll9AhuF4Is93ZA8vLLWbb2Q1y2BvraMnK297KIl6ronEw7quLo+mkHxBQ16xE7Kd5aeS4gZSir0fULg7NCOUOo44XjIeee8G95kI37aSCpcQnsIIRI6PDbjQuYgP23p6ljuSZlKCG1oJK7XfZG7wFeKoFkLzuhtBkuoxrWSCe15ZUKZd2+GTaAEcY7SkQc84Acn5gylxded4bw9StO7GtksuzLdb3gcpruD5a2iKPqJscoR8qF79wOuuL2JLvJTSocOdLLG4iPqpkO3ddRoQ5ulFMuIcdWfUJeIYcC+aYHIcGcHxnJjasbq/v2gHWskxIHJy1LBYxVwSrncdsr7wurQVDTIo0uS18lJ2GP/b7ZIQGlX5UPXmFWNRAlu8rEHJ6UG8kPf30GCvHVlsm6I6bofOMFpeFj5+Iz+f4FhUbO3f0h7XpWkzfuE8SM4w9XBmSa93rMC2t4mVK/a32xlxSeI3GEF1NLaZUlzzahJz+m+mUvDPzdXgiiCwq5k4ArRgPGk73OjJd3T7nMY1Eyl3AOE7cCPEaGD7v9rk4E9Zk0AOmUGfge1tntFLjxa8T2vz6Uq0w2VxZ8UlDIgOSuTBWUC9jAMMiPDKq6RQQnApVYI3GVkjN8KacUMpyZaDTWonoDmKIZxgmyxd0FeVa5/h5+pKH0lagzV1qHxn5WjAx7TCZ+G9c2BaRlewZkqm2kU5J/GT9AocF50Bnq9fTxEgaDk2QlKakIFPhwOYo2MMovD624w7sqCmkklyoHyPk3x65bsOTxGFw8dGvdpWYT+STSeMzsc3oKaHd3pLcF7WABgFZy+kb23fRU5BRGxwosiH+d4mZHmGKGKaK7LPVXW24mIe0BNz+cSgP1BUpiQQmJeXY7UJnmDiyOJELAGc4kwRkPLXoQRVbSAZ5UhQrClIiw+g7nV2gHRCULPtFxQehUrH7RJahrCQpq2Vb6k8fU8rZ7i07eYGgbBpIh7zJEA63bPsAeRXm49KrtSWGze82DEkHumRLGE4DcNMKQiawju5/SZylWznAg6D02Dgh76Wd4mKfD/yQ2YC8Ll77mxLcIFxjVAF7K9CBv/1OZo8w2gF4UAZQEbIqHvAULD40IbQxKL1v1ZH11UtJ1d4DAYYpWncFczp8urE4vzfhh9Px+SldMoIfftX+SN2V5o9bibcc3bG1nI0vufrCsrSlJGLVTkSn/kyxhGxbW5rVVin5TaL6QqvyaGWjyIwf1K9O6fthU+D7zOXWQC478bniilEGYNhUFhABMNTMZjxRRgtnDyQddc3nkq7tFVK7Ioy3ERYjNBlSsh4iJRQdmPHqSoZsGxtMQSJi/DcQdYCOYCuKGMBc8KIqwh51FDwq5ch88Ytddr/q2FxNckuiEZL7y4iyoHOqj57wIIgsHGjypnYGfmIUTa7ztGCzMVZrzQNydBVy9TI2T7OnI/EHwoTpouZ4zOKjMIBJ9+iGIwlVkB/HTbNdgjbhcrMI5/IlxNvEBovEVRpN2h+Y+SMmNu15BpVd5dgi+zZkBBbfnb9iAL2mr5Nd32T+9PAlPBm+8HohWbw+0Dl5IEokwx9w6xJA4NFuFiO6IQt1R5okZlgVUBHB2xf0AdYsb1+j/Z5bZo0IbhXYvD5q2X+x3d9iLUSXC1D5/8VQwxzgmQnHpcUImDLE4p5ATV+6LtdBlmHHNRkWUZtZ+9XQWn5j0FHn5QCDwRd8ePFDmunVillR0ZAIke72WnfX+xh31DoUFYyK0esM3xMhWyyAOmIlQUYBJKW53v9fT/DeXJQl1Bfo0cIRhRklZ8HFjW6TBYnimUALuGvhfQASdEZY/VMvkCVDD6ttaTPy4LBDdfjkPBr+GIXe4QpgCAr7ieGtirW0MMHaN35ey2qqQQahYLlHB47zaaLrGGf4CtOE1H8ORDoEJCRHjtbhn8BZg1DRW8MbX7jfTyQZotqZBUgxOXxCS5xmxpH3ai3ABVhPF/Jz5qTlL1Scd6e2sgd5QLztdqKFKRLR3gihma+pmPL7TIM2XEFtdHlRLaZR9J7z3HasF1TXG0wofw8RkSUsN8Pev02dWmEGO6NvKgME7NBJ5iydU0ncjNJujcl15T68ZFtsyvcTgGieBHBBCIJ3gHjEOltLQLIVCkN/KMhFj5fGAPwqdOftveGSTYLFrdG4J6CZRJ45mVh3kSgbEI0nCshvqecxuNjtQwVJQdsxKqsvu2ZEuDOCanUk/L51kd1HhiJxT9R+9erVEkpmb6BjGnAU/2TK8MRdxEZ8ZG9MJi5ZUV2GPFpbq8fAONTsDKrv3G5Xls3vG0m9ObuFSy/a9Wld89gAnQRUkCXDlOflr3ZJuh9xKr/35mGuteVvGaglN36Tw7aSsjeP54IC7JQvdCvcna2ipMmElaf9g2TCPnH2vyQUTgZbiuGHBD4izAD71seODW6rW0VzXwHiIEdxmlZI24MgZuV3o2kfuE3pBYHPUE6+pYbHIa2HkBIxYQ7baV8VCFh4MD+aLtB0xKNyEvGCWK4/9e1gYNV8OWFqJ7i7odsS84/9V7FMywhO0ObAqMWG21IBKkghG/37hwMDam+qt5HFHY4PC3EpdEtD2xj53pkEqVFWxr2MC84LEtoBhAoU6iIyxb0wvkEVPx+OCeFXdr8KmglBOg/KnBZdpAvT9p1Ylc7QGcmSM+zhoup5xzucJzaR4AaZB1KcJl0ssHNikgeFdA4U3gwHXadGaf+DIVgf9rQNmsWhoVx8HadLSaYADFJdE8Ia+w5SoyQFI+wDyq2PrOle/UKHR5nNizQB8q9GoxELm0eQ/dWhweZM5Z8JjPRRy/0U6V/15JH5Kt41i5w7021kX06WZngZKl0Za/lTnlkPsQZrT9i0WlINjsTuUg4/SxWIOgx4HjgLLvLpVkPOzLc91dXHgrx+XRg+gsoqOYheYeuJ1PKgEN0rpFDxnMnfuz7xHR4zEKfM1E3WaIU4n+z+yckn6/SoJSNDZTr78hNfJ02enQe3wwNTvQlB5FMWpojV3wmG/bFe12rkzBsFrynNk7e5fOsmm2xHdDIXSGop6jaGdpSscoyQAtkIH6msr/98qbtXAlG1fl+sWjp3Q5eh8heGlCqpvtMyG34cxyFh9PWhaDUPvMOF7MIu1Rs/5FhdaoMR9eT7yqTN2g9DqSz6EdOGRC9igKwwmbpBFSlajd75nEvVAioqH7PoiIanSl8FlMBsIpPeY60m/ctRBmb0moPSTX8Bzz5h/A98vbR7KxOUyobEIWigwONBlErVgNtUwW2YLEIhybRm/9iSVcohnzSv9dQf/y9VmMRYRCs70ulRhSImH9VUDCjnxDwL7AMz7Qq2oG/Ea0xlGIYOn2panp+7f9BfIzZMNxu6YSPj6mAfEAqcvkQYlREJGYIqLmOy9kMgtV/Vw8JAwiaHtEKMFHF/Zk7J5Pp04SyB2yV8pbVmWOLgRFRsXl8NOK4TYHL86w1xn6vVLqbJErqSw3ZqFcUcir2B7cbOUUQ3Bei2X9TKAylTY3xM9eUk4UoOB2oj/SSkNWj2i/hQEqegm3MSX7ur48w54kq2z4I1YhcQNaHW0+D8uTVO63LszqgbqYv3RffS0eE+pHqnN20vuAOmY7MPwXzLQXemAoP6FAWBODwzkQt0n9SeH0mkMvdYGD8VQxdIg6X2u3J8+NvmKFhmDkqdqGdUNNVPUxgEPuz0vmJLs6wUun1y4p3rYzdqavBa2rG0HlTxGjr8xbVv2EYNyUe+nXlF3aSmh4mF7qrYT+eU72rQRGVB1+hybBO6WjTimGtWHJPWgs8eVJSiU2B8WAI2ESUlCfoN5fzr29YkqU7pLgBpd209hF33hGhCU913kI0LRVvaoITw4X8oxF5+vc+N8YoZ7Iv7iPi5qH4xPhUMNsuJdL/tX2HfquS2rZSeqabpAIzrfPntr3Le25wCbU3LuZMfxIw5OGKtlMBedsXkPMdogNZUps7b1kyWfzCS2cGZMsckr0E0ofd6Y3HVgp6zs8XhvxspZWIJMYOFkWFrQ9ktGcr08jhaz0okKc0DC5V6KPGbhdsAKGtZ6hGHJF1NQbmIxqO9XJ4T8GkZ0GyXSrXE5NhOzA4rm7ttVsJawjpgvrwhp03KC+fKX+B9NzbsTFBpqWBZWlm5DVrJIoG3hn7AsybBniVClm8WQEt22ct/iuXvOZJ1sY8sjGJkaGrazi8Y8hahQWE94WbmwB3323iJRVoXMWSHgD2GL3GJF+/8Q+dNx5yZQAJKEIQAwz9ZuKFgDdsB5yaYisNcA3jffDYgDuNLkk77YgH3hrNWFfIO2X16N6bEx36aRnWdqy9ZEVZxXcffN8J8Hqrp6udLMy8r+EQfbSBX7FzMrJ51jiGXUfU7NX4Q75uSS+uhXwh0Xis240tkAv+jUdL4cLDCoYZs9zsDN+pb55wpfn6z0pWVBPxd4jDVEQS7i/V7T3JWuiG4bKKwuKKAv3QXTGC4vmIIvZrcBM5wqlRBNZhwGEQxBl/2YIV6kPZDXcccrWwnlzg532nyTtf/bcnFjtAA4SL/6bE6F4GhVbjRuNtYAwucBeicQJjjwJHsXlni3vaorNei1gp8EQoZ/2KhDBA8bexXscQiyH3f8gfSB5QmAihrknKIWvg54cENugUqqXJHBaAkczYX2dOkiL/HW5q+BNyGYtD/8s3KGKPfhKl/rRt7feKF3VOc2bMJ1/5u61az8ztS2PR2S/hsW6puoTD1TUGl1qBiOLXn1fVeEArchdrOi5w5ybYuZTYDwjWPOg5EiV2sDuKd2pKlxSZ6bwjLaoVDxKr2/rSWhDQER4P8rOuPa0GgIFnU1En01cXXU7tw8RJXLnB/HEk5rkRucYY/Dfaz7XMXQxuz+ERHjyBP4Q3V5ICctldARKCCP+BZrNAWoVEIixuVEIxa29pxmTLnJFUecJYRL0Oz20Enmm82COz2zImAbgdZ+XK4MLMBs9YY5+p326KGwHCrN3YB2ruTMP2KOCr/ccIdJ/c9EnbFv4iRVOrXsc2gq/qhqaZ+0dfWeaIDjTLfiH6RWC9TYov0MioB82QigIGycWtAad6NJsjG6AsH2ajkk/KTsKhSFLYUUYtcGA1FjH2+6tB3EvTW4AFG6E6UsN1GsD3R/aZ/uQ3EfS2JouxRAoAd106VScSoQMOdAdavnHVDyo1wO0CyM2vvTNM/6GNL7w37rYXUlLuvo3JBCHRCwcXPSL9iCWeX/ayhLm92TjoPRqOqdDAyN9yLgqRK8F6INPXEG9QtHrMNGY/Zm3Fb+RfB+p27JlaSvh8GD/RTurizrlNeBXZPYOHqf75RXV6ORBIv6PuaH8ufa70Z35283eifD8nJfEGYvDqxOCTe68tm7MYPd7VOzgGzRoFFgc4SQz9sGQnBv9wmFPp1So8BxnhBLjldvYGY+2z2uB/eHxtCIWK6bkww7UgjVaSaTxcc5aOX0GDumfZ4zt+4X5wdqARIcwkH5GzAaALHqWXF8EorzLVhBjk49eUxuzi8dsyTZHGZQeaUbZTo8vT4X8HZkRZ5nlFHz1SeXD2r97mHYwSspxwuwgA/FCqivG5vuUpIGP+rVj6dbbvV6V5YDgUCPJ5ju+bEmiRSHz8BKP95gAJ7m6ZJlkDe/QF5ANiWeavXuPJlyv1ZoOauj9UKgZtj74yDbCGbDLImE+LSxiTrLbDTJ2IqN3C0ArEpOlbQ00kjg3euSWYwEzPWzeMss/27j9dxMJpNSQIRUVTyi0t5DFfZNxHYU/eJFr+GTL9XHkKfwpIdF1+WQ20DkPKl15v7Kj0vTR6ayenLA/7TmSPdqU9elY8XyybtSvrx87LjHyIfk9S048LJ4zTqptlz7paoLBKhVSNMUyEVjYhJ++6r4bafAoSSIcG8d3kBVbprsGkhf/u0XR4+AYNbD++sa4rRc/7Iq9eMUShIVuzggFtj+54+wOLnQXwcpbHmvgRsZMI0vKoGjkroOJYkpf0GKeulJM3pXX4P9OWSNoxKXlGG0VVRM87qDy/UZhWOecjXBLKYQ7dLpHRVp+EGGm8wKOTO8fQN/E/qSeOp8lWIifeC6f0Yr5lwSkmGZwGP2PC3moi3iQPGURoihTs+UbsYcZ/XhsLFyCd1RqWh7QUvOVrdKXH6QI+K7gzvuK+dto4VinPzkH2nSpzxYnQojX3GGV8YYeRNPCF8yt9VcaFTAEfU7llgIu6oMcOunPFM7rsf5O+gsuxJpJ3pNDQMxT6hG5e5fvj/riF0WARCZXqG+I3gVgiYD3DiQaWTn5xE/O8pvPu1UTO52lq0cfu2IEX+xno2CJBcq2kivWISy9w/g+RdkoGsAgZhaC0ng5CjLWJ9VOpE6wORyrxbeINrcVtPpEi9Em28nOtfSdtBEf0uvis5ER2EbNXSOUNv+A9YincEcsC6sCI/bfj99bRfbgsi4nQVzYaTR5C/Vpkk5UyvFgUb+3YsDF1tdfW8KtYCbHnuG7zHzYABlKABCA0NVzt4uSFPFcq4gx4SI2O3pNlkF79RWC7fgt//dNuQ4nrLM0zrQ4CrCQGOZHvqKzXGyfzawrKSCOGJcJ4Wb0rFviilXlrR0Z8EPyWkv7IIE6itooY8cQRT6/19Ur4KVuYjgCCgJuR6JyUBCo1ulq0WhgD50dD6XX8nigiYW7jmKAX5o/Pgw/NpYeyYSsggF7DGBY21BQzJ053TjTNVrYezxs8Oun9V+Y8IFU/3NL1wF7cYHHqB6NwmBwryKwGrp0FDo6CrRT4JIXghr7Dkj7vV5HfNhwjxJZBxKGqPhRODm5QXtWLnoapvrw1PpKyx5vHOE/ifOw14VGwFsSu0NZior4lvy/6cofsDxsJNBxurL3xyLSJBsgGru61Bf6ae6WvFZC/g75+47jopcDBi4+p/QfCZRjVxXC0EdJdHM+7rJAbVClyXL7GlbNiXOy/ACLQsoh+ZZzDMHjHB6QAY5mDj4u4s0lUxqJG0sVKmRNtztOZoZjmBZQD5jBb7tdZERw+te6Fpqlzo4MNSiqeBQQSnfyNoKOJwO/h0Eb1+E7Po+u/aaB9m6b72dZU1FrR4ul7Q35TTxgQoDVC8QXxt+i7PCfMfqm4Yma4jnxoxIlvJ3K+qSVYjQNlK8jJFFINJ6Emn6xYyOfyAUfvklqyRaRZuICTxzXyntNX5pAzMAESWRnC7uYIHt82h0C7xzzQ/iPkKKnxY/lkQI/zyjAX0pUipR80+W//CE2ADtevhBQl8+YXhrkHULx7dvLdo1NJjI0o7mM7QY/QbwcELZiVDBNgeRubXFngbKYqV0wmCmeSi8oJuYIbkV6B3QYnmuNio32ZnB9MsfU173cm1UwfTX28O9uAn83+2kF7Wr+wGWIJIKNdUd2dVIeY14hhp6/2fGjmVxrTGmZvq+K1QGrJmOAoVW6oYqeRrDPvZ03evAFmiJCruL9JrHo/X/TvvKVXceFfjjHDqMdVJxYbYvunLNjSe0yB2si3qV0iETZVXjxhrCw5nIzJ0OGZlua4GkUJUbTsbj+CJc7YDzxRd4fYf5wSkz/toiOLngV567nWh/aO4vpbWubQDEQk3E3nAgmuj0X9Drv5idKVpzbEsOVPEzWPFobXm4Hi8YV/HmsQRqUsoBDhjufyt2EtSG7pqoQF/B/D1fK91b4flYkFQKSESutSM3Izy5MfNIV+X4UiTwnQSqBnvi0i2ChvKBpbhUVJpyzixg/wazLGR3BWzpR2nHV3t4Ano3KdpQNzomU4rCxgUBrgHBWRL57ZI+slVRsq3jRPeWMTKDyIsNb5OlSfmZublgiqoM9v92iGG61vIulLaGgRo53eCS3wblYbJ2NJS0uiLMRiaLLV3czMLBjTldRYx7MVLETjhx5hoZLMKCk7dv8JHKGzk49IkMgWXz/1UzH0nzoSgCjqMfo+t87K0kSbE1ShcNYWUzh/vjqdLBNRpl3spMhyAHpl7udG+F/+F2CVUAjWUTSP1AKNA8Dek609wDGCsm4QJAuEqXy1lydlMPffhvpPoDiG26tHNvVyYW4DMPX2NBJ60ICRQ6o66t82KhDesZQVStkfo0BaDU58z5EfmUu/lVneBulhDqQ5bBQARiy4wQSA0JWPBqGjKoPXNpmlRNVQzoG2+AS1bJL1/bcCu/cNqLeLm+TnZ+9kZM6rJ8Wzjg53FYCapBjC2HmTOXApS0Eag7GijIoF7sxEufwpPWnP9Dy62y14XBaotQ6OdWic6ITp+eqR6bJgkBCDjPiYVW5fEB9+a4NVFaSH+kWmg/mVVOKXPeewcivd6AQ3fISMnJKt/nelgCHAXqvKkPs61vFZK74qAOQtSOwi+X9xItf2MjPO7HWPN8NJCjIu27d7phXYYMRiqj5n1FsmerQdWAjv3zrQqFjRInJASVFXAshXB8KdEq74g0MFGfXt7WOLpT2/Y/IrwvkSjk3MRotv8EoU30a3aCI5+OKEx6B2pB+ILq6mukYHFyJ6A8DFNpChsCUcYLiZ2VaZsavEIQElUzcI102em89qkIU/MUjVZ7ngYN3TWMpbxRkVKJiWvjEWtz1UW4WVNrsA4qfCb2Wz/oxbm6zSYvT6+eD/qrNKeWfKQlQR0BlCfVzROA422hMfb5wyc80K0hG8Wjvd0Dtf/+qZF4xh3F6Urx1E3x603PMpKc48L5C2yzbR6W3MCDiI/XS+ktrAloA0u1GRjU+MW9AE53l6mVtLknQctSzS2RUS3dypRo32UXyBtrDg9nNlYpfwZKFnobUP/te5iveznKRwvK+pJmC3lpoVtcZykyhH+1g9JQCJaBOSDx1Ae9jZW9tyk0dKvDDSYUVJTamAhrb/GkVW7wmoXaLdo8dT61kezv0Ld2JtoWnon4HnvwkONIvfgDL7cTX8K4OObkoDntaMTDdiZHXo8GMLZcQJo50P0xGWk9P9BaE/bk3Ew626WdGUYHezs4nLOU0MqA5sg4xpvhNO9U2OFYebNue7RzkMVGIGvqwRpX2DAQT8RdzHQaK+caGQ1nk1ncb7pzHY74tCLg8TDOts/Bn4IWjavHJhlmzEXTKgJPfmwo1JwJh8xWiqefVdEXDf/LXRcFHxhi/m8NmizaKotszWWY6UCE0SuAngmN/fIGI01t8MU6qgMAs7MbTC84b2socWggfFgVVGvfzCBugl8BDigRDZsk1qxdBeCUgRj490wUzu+gSogJ8hoB2i9hLBLsfjQApJRmdMHJGBZV+mTN/q/DSPOALwaVPw2hs+tNiCz0qiAFKwL5+Vd3ntFGnqOj0H8tOdKLbTdDc3h/RrLmXcRI59CBxFdKlyyCt2QJ1eQNM5cwJpzTD+9mDPEt1lnSQrJ0nXXXyBH/nEmlAFMbb7adsffjrre09koc6ZGV2bOKwNq56kIgA4Tz8LN1+gH42Q9YhedS45TsnWfSPMJRJVwPrQGTm7Y3gKB6Igl7Lqvt7CDZUhOMOwK9pYrR0xAxwuWvJ8Q5KKBneWRDzNu4+h15tuF4ejmOemBIzcILyHa8UFDtX3cvwZatyw/WtSaqoAIWhaUv577p9lWPp8TrWWkv9HYCb2EgN4X8njdt5NEIKwOdsPmeXTBcSZPJdOSMkKlgynOCr9cpvDJbN1bb7BZdBDLlK1EaEA/8J87AACITz+QuUikNMmVuzZrxiEAFh5Pb8nMme1igPJMdrdE2G/Y+/8RRjNaa0sAqzaNczZAkkpWWP6HUoEUkuojHK5kcz/LtAxzWlEGfrLz7XacgvGL6Y+fkyEuMkGobQHY0DbCheQKMlEPObzljU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-152399" y="1487541"/>
            <a:ext cx="9143999" cy="5501530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AFT FY19-FY23 MBTA Capital Investment Plan calls for ~$8B in capital spending over the next 5 years</a:t>
            </a:r>
            <a:endParaRPr lang="en-US" sz="1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/>
          </p:nvPr>
        </p:nvGraphicFramePr>
        <p:xfrm>
          <a:off x="2209800" y="1350379"/>
          <a:ext cx="4456906" cy="365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69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33641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Y19-23 CIP Spending by Priority and Program </a:t>
                      </a:r>
                    </a:p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($million)</a:t>
                      </a:r>
                    </a:p>
                  </a:txBody>
                  <a:tcPr anchor="ctr"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9483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AFT FY19-FY23 CIP </a:t>
            </a:r>
            <a:r>
              <a:rPr lang="en-US" dirty="0" smtClean="0"/>
              <a:t>Funding Sourc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ctangle 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YMZBw004o71Xrc6R1lRYDJQHSlQlPFTiEeURFsGy+aqA3M03A4oFawx3EMiPp/TcKSzbTJ2f8I/Af45AfAhqfXYR2wHm54GLWFmmohwJLKdN5vT89WK3WuAW3bBG4nejWY9fAFC44iMckZ29pIrNi0R82WYsvMfJtE1wkPTOFhO34g9VQ2h/tmX9BiZo9tGKbAX8qqamQgQn3/aaFmpmeK9FnX8yE7k14N0PybnNqRlwEWbhC7iBBf3GKl9GPaNNUqcdeFU3O6vB6+/758MWNrd3ntGqKveDtln/LXFWq2uTIq54VcGd+rBrVBvDJTyDQajqISFnyM9xe7M95xTkQS0YXkwi75wUATIbh8g8D8XVQ35mCmhhuxi+JX3Z8Hk1qW8ilD33Tu/dbxKQLWBK7oFQDCOn6wcRKKFH3Js3DKFTGLxeVqWpu6DRBvf6aFIDlHaAAQ2d7rm6xCOeFNNmkIYVfyS6s3r9KT2W7injmfWPCPriahv/fpSx5H+OvAlyhbG0+Im4CfjfPAZ2kg78Ol3P3bK0z2/ZBvhDIDGMCfFzdx5bUHMSMYueBOhTvBKeNxxVSwP/NDyQelAa4BCuh4f+4/gFH+pC18B9ml3ph/7vthnrYr++G4csrQnLNUZGzWcmtCq1ZBicxNm+UbiZsFK/wK4tFZdEwfGkLD26948dAaBXz3LPNvSXqDAEFoyLmgSUMHi1WIVuoiN87OwmcBw0YVCpwZxfVkLWySTyG9aGdvPieZNVP06amtDb906Jv55lHPmxhuanEpxiuJ7NkM9Rij6PAHJau7jSnfpYSql1L7lJAQXfggyiWVhpI0sW8MQDja1iU6YCPU51WNTGlCfwpNDXkdvx62larBD2/O5mPQFHb2qAA5G7hzwsjwKkF8iBNnG3VcIZsCsFWe57eEBIie2Yc26+O+az/EcJZvicx+OsejbSXqYmJEx31cZ74Sry0jn+JMn1ESZDPBtsYe/OhD+AHo0EUncOnCO3qQs4AUFzy8BG4LvxkpWjQLQaOuQsH4ScMMx30cvyGdaaDFEuwuKpCr6Cyw4TiU/qhRDGAX/IPKzJITbR3ipYGynv1eFGlD8giUXylKvxTvzGnjIY41R4/N6nHtIOIxPR00Js+KIM01UIftQEl0WOr/WiWpqIxBkqsdF/99pMmyCIKrS7D1+2qYunrp9uGz4Q07x3HlYhSr+kX1/EIj/Qi8qkMIQZ8d/emtJl86R9ffbdZVXVQsj+xI/o1thS/GfZrcGXkjm8wHx6wBIokgvofgjxJd5HKJZMRh0cJy4pEiPdWujSeoEiIdYIppTcqsxqCAuU/uHSb4ILbBwXDii4e+d1REvoMhA4c/3S8ehYQHfHWsoALGgCsN72pKBmfg9paD+Hutqe8s8PZT6uNm21OGOxxDg6I+Kw/7Y2zlMZ+i3XYzDQZLI8bqRns90XNzmJQL1YVZBFz2yDqt1iMmqladvadCcHKHHHzNvs4wVdDGHqgArsMkfnhbNiwH42t+D7BMPxW+E82OZwWuGq+tH0CUDy9vS3jLkmSAYk5l5Gi56fMfFuP3sgAU4CVSTEkd3dKyx6b2AzY/oWDxm8x6UEsgl35l5Qy4wPz42J1UnXU9x2uCL18d8RjqD1+8ZqlfyO1ibtwgSYUpBnmX/Y/Pd5+PFfWEJ9VtH2z+DubrxTdCG2B2afV3ASRb/zAzumkvypTKXvBXr+qUbl3Pvxv22hjsyvT2hVuwncb4deVrdWo2VPDK8eWmbb34OKaN4CgbVFC2INoF9NfLk6gnhZe/AoMfIF210DR0GQolG9lyBcVRC3sdGbbISxOFIriqNob9w0PGFC70xZaRwHqqfyDkXsoDdmV/fp7SKK23Yu6Lk7u+qEhXYRRjiDaJe5sDQZcTR0jvUptHoqjHKhUzlXCRs0xXxKXt6E8pXE2cCHDTF6fSiV09hvrxUdx1MGH6NAyTqOT0Tu2RVtbAqTJMLKb2+XiiJLhxRohTizZPpd7dIl7kuLa84pG333im4A4cRsBuhnXp27+nnuXnmmBtX+CraGEMI6z6KW4PKyp1cUAbNQ2MvC9ePaxuVuLSO74UE0eUVvkYRHSnDJJcBWLZFm8oL8v51wgJRcRX+WSkl+OtJ4U7TcphYHmuwMsUtqZ4052HI0OtrKm4l1RFV6bCNAjS6wKpJE2n6lz10c0vKD19mlo/amNqiCwW/BZ48eH7qcCazKamgIz8Qy2CSUgGSK8DykGu44uDYYK0SmGgOB3VBODQ3UC3Xn3CZewwS/HsrQfVHzN77GjlbGmIX7GZRuyShumshFrh1pS88Kl2iH0VW9UZ9W3IYoTMpZ333KewmyPfVa6fhAzs+2TEBBueToickR5M6dDss6cLoB+8NyfKU4tqwnM+WI/uk6NGw/vV0I9+ltVqAUWEHpoBCXdnmB5l2AbofcadK9kdsh6lHRON4LSVPa34Bk/DSv+Wl7rLKlxUvuY8w79algWwcNQHEHJxPSvvLFtleCaa0NgORoF/D6a0SS030e5eWGtTpKzHnKdvV9YjgRkvugD4Jcil0ouYhnPGnsljszTg392JGL3hHJYeR/DvqoX4bcdC+NINPJvrLOkWKFX8IiEuyYXx0Nsrlhn2jpgIF04vUpkD5bPOoTG3t4fnbpFa7woDyKYTZig0/GtQK3vvn/lnVghI+gX5gPMcx1Psn3HonGndpD+wdmqoKLsj4YwN9Us0R1f3tGfsbgku2jI8qHb9gBgAe8R5TZTRLxrW3YYoqF0Kr3745rjxovtcYnwUaM6mILr7BxqED0Xl2GAimNPXZxxiHxI/vk3Cy0e+jDwIxW6YmwjdRemVmTPjyQGq5OKm76qGGgj+YfW/BtJYq6lfXvaMGsypMDaxee1tySxTirucXVyolzYXV0QtJ0t/lXkFb5wXEGX4P21wruNLB6iX8ENR/B29iuPnVwHfBA6nY3w9BaEqVaU9XwO2SNTOcvFVKoBFdrOur5BqRMbellmIkhaQAXDlsAVy4RgtE+1E1Y4tMSAyuA7cAEbI6pHa5CYyLiGR/oxduIMH2bfWkvieH+S7POdHRLpDN9irx4Tz4mNlrCXQIMkvncgDuMpARkQkE7Z+2yg7orYrSd3UirYXUdLwROIs2IBGdym3wPkzFRm4SwIiAXt3UG4gQ2qaI9qvi9GIukC0tY8uX5yFIEopeF5V5HVSB5ltJysZhdHuWtJPEqqDrF+e3XAVdx2XtsXYrmexY2G0z7RXQMpedALsul3vtyPjn/Xt1y8DfBFqtLRAchRX4rf1iir30KEGpyBX+Yq446YzTl7+KAVbiZ1bWm3CeAUe7Bwp+SM2IXOnkubz8S8qD214zb32EQzG8vX9h94Aa4qkdKioUii9Vt/iO6UU0/dbgadXFuyYM6f5wG5bo4qR3Rr41d6wg59aM3XyY1OlRSlb8H+XHR8utyg0kaTBKuXI3Ztdlsru9LpHSKEptChQ1GIpO8jLM0oN2geH6h3OmlKHSZlLLVAAgzaVdjsKMCMOahMAf8qXqfC3FY7uZe1PMJN4zltDgMkjQDhjUMC8Xh+gniFyJcoMOtkCb9AsjfcblN/bAzXKT8OQsd0fzm/nZZ5Oc22K4tABcyQpznxbIP5jESti7HmQYDxguHq5ubajJWM+eef17QrQf7/xVust4LU5/8J4Dr1/9ApWky1HgZpYHqWRCNhZcxPso0DmE6qVK56cB0JZAe2uZnMRdQiuP0oEoEcw5cxO//ZH18vSww8ggrrqPrxlXWGZHhMJ21i0H0hcf70kMoSZ+5KNQ6FGeHqxXBUXvktAo5W/4OLi9KyK6jxFDjdO1lIknv/0OeXVDhg0zOEluZtDNUtV4H22UoZtyk7yOi8JeTHL927STohizEZXluZPhE8T2AMbS/kdyxtdtYe8FrZFYT0S5CQhS4YUPy2w/u7bIlMK11/PSajBySks1bYEzw9ep0SXssVgqt/QT1VPjO6v/ErLNoWyAsQRQ+1Bj5zyscwPW9pSoqt7/5RnmVJbSi0axwDfoGyiJYT2RbwbnlJOyxmMCLDgX695IDBXS359qWJWNKG6lag0Iyvgk22OA7tX1zpeJtANh3KTP7X0pRkt6djdUiAq6eZdxWRCoEZ83Lt/fab89jSMf0jtu/b95yzx/cpp0e/O3NsOqqKUlWIgbTPVeFEBt5FNYfsCJX2niUEl71vKxa+M7M5uBdj4Q4ZYrp+kT1DkkRtqCVsSyVspfmkPgNmeCEjU6ezicDoFG2cAPRB9iixc5YsochhQU1mqBwK3Rqp4AJbcotrAMKFTLt1PUxb1P8ooztyoTn2T1aWswyNcxfVag5tcE3MQATxZQsjq5MNT1QoF6Hlyu+ppl9iELRHU+W2gEg7lcyxWSUjshH0ec8gMH46Qxr8ZwfIIitxiVzmXd1d4ygcC7BKehUKgI/Ik0F5PZx2+Wv1tFi4yM+JVn/WbSAf7TPn0Q6knaypOxYBUFdR0NPUHPljTlCvciIFQc6X8trBp20cZz4gGmNVJ2Yvj++04YSY8XzaBB41lhTarNWaVR4TFphxRvFdpLvSL2tmhXmogUKI9s4guWRjEUlGWliOgXhjXQ4hIceKtLIYcLOMTzEXfmtjXzQtRc3/bPhyWahzIgwvoHum58h7Vivdz1ogsCbFVkElStj/r9BuYCGt5gMmqNPuOz7EdBAkBXcQbtv0G46VhmkboM+5XQc9stEJF2gqtP5OgutJ6Fq8UDOPVB3Y3AZG/bDGf/XqaWh3nAfg+N3FuWMZdHb7eDAgZg+HO77XgM9v0OlMeMaLLLzqaiay20EBBwQG+50/TEY4fJj4o5UrENGSs9re5ioQgeovFfW7aimZUg9jL1eA4dprBAL9OcUFXWFFNEukmp5qR2hR/gDwD7xiPlBTOxzNOFD2uikTQXml2ZzoC0raYgLTGozI/bSIO47gO3F28Z1c8yfhO7CNh+4JELzlGX3eV/Hw/hgSGBgnzJReR3BplxiQB5WciSgLL/Szku/D3MAFZt/Tcr1lcTQiXxk0IWJnSZvmvDbYDagWpl3P0nxreoD0qycCjjJZqwaCvYmy1hpVdyi8S0330j+ISII8axc5G9CcwaIXj8oW/tmHWtl57LUOd9xk/0cmBH0mf5IIg7IgQI5Nbj5QbPkujJzkaMGVvhpdm9fang2jNYhtMdnXD5Dw5GBfSnZf9tivkYc6li3vwd7OYzVToWKz0riP3MCOg1kRMlmNheXRj4668nG8El2YHe08vFSO4q6oSrlovz8qvUqk4LwvmHirAq3GawsC4OCR8ptf7c9d9rMlDpjQkrdwe65gJ6IGmXGbTZ+29NHtHkUAFer9Tz0+IiM5TJLwVFSrogSUXrlBTc3rd59+nTUUnQYBWC6zGahKie7Cgzo0wnT5oVqxtiyxTW0zvnbVyJIs4b64VqcbiWNLejX5N6yKD9muGl5ZtkcuYNwtwK1GGs+IT5nQHnR5IjMIygM8uArf3HJr8GUqnmcq9V+emKewRJWVBO/B9orzhzJkuVnhQcjJ7PHJTkGZ8b/XA+gy6vLyEqPeBonjJy2LU49pHlnVuFa3dJf2c3dq2HH7TBf2Ex8ckSiBuaNEsuzUqn/xZLidVdL+Tis5/w3pTysbYz9U5Es5g5B5CaiReZduk1dZ6Fx4QG0jHF06ktiZsW2hRVvR2LuLaTh3DlZXyFALTT2SewMmsmATANlY+Ho0JQHDlBHzq9y48plQkB0gy0TowJhACr925r3fyYmrnJh7ERjBQ0TgWATPvbnjz9a2AwcPrZ5wTxwrQOYZQC8/NYoLtekoZtQdaEqcnim/wpgouTWFilLBWUOjk4V6M926KlDQ95KU09fFX45kBeNRPunSW1h5hc8n+ptijmebpZmD9LjfMwXG30TpAWHAYJTKYT4jMt7qCD9BE0zdmECWOWc7yQmY8KTfTjz2FVGgpY/dE+m1kQi1uql05n/dBYG3UlsTTIAqWiaUgZW0sOF0+Gl2BStRD6d3P1ZtJQPRl8vDLBMWI4H8uulhwLmTWHHYfoVpyOnYDsK+7cT29wgf8f9z4xRnidxtWvsArnfsudvWCwm90p9p7eAro2ZEcuo8/AjtfZyKFK2mDzGi8pqi6CS107JM8CmM74tmZFhRd0DtKvo0zKHt/us3LH9PKwZbZRq91y6QDko+wTKcpE6QWYoHQkzzzyC6F5ZNF/Tf2hjExSDSP/TgHQ8Or+owXhv1w10WNO9U+yP4+1cGRNb5ax5jCzBnhvbbJdPfY40eNN7Rt/6KOSu4NZWN5kwJOJfO1tTE0uBhNDLzzP16MY4R5v8KsMk5cxp5wqTpOErnUp6T4uvAf0JWIP41w8hgzNp4pFZLRWSkncQun9ds2gpdJXLnzF+8/EejBDWXsUL/S8sMJDrxto2cYqwGdksihuEz9ji8EbeTnD5Bs7yinjfcwUlY1H7gi/XhCYjAreCOorh0EECkXYXoclKDyHcpxgsdTwbTJYRe3Xcw/DZxJy/sR/HjrK0G64ezrxpgrFfqYmCmGVeCMvzUXUea81PG0+qGhWdCJj5NRlxsGBjiqwhN2WMvtLJf9zZ2tMNP1+2M15Hl3UBI7NsXihGY4VZq1r5yZgp0oSW1Jh+VY2V0/t85IYh4+GP1NLC8kpjHmJEMEoYStLxVOxXWNLoNieA7iZ12dzz0yjrGP1HZwEY1SmlZkldOIzWkaKvLMP6O1QyKQet3o3yD/kTYvOYNGGhKQ/Hup60BpjG7/GcoZ0jLcbgUfDLr9bA31GVKIq07ENzalQhYy579eA/GuZycluVSWS0qu0A+/WNodK8TSXT/IZAP5EaN86WFRdNTlXyc2wPnX+8a3u7kDauHtVgzir4Irqs6KqXCJdSiE0FC5Q6QhTxrVeUtgQKW/VjzLkLzvpt1XqQ8aGZoUZY9dO9RqfJOAgMXTv7lvovCoWPjAjUCj4RWOKZVssuGPv9A3+QITcK0PuqroJwVg7zunQciQZDpDnq10q1ygMG4eki7W5qBMNf0s5zc7CIR9rJdAsTeeRvK3TZ0SzJ5OW7PesmsehGp9ULBgPSoMg+PfXN1n6mscAem8thsOOQ44xyQw4i/62x4p9XGQ/HrRtJzMwY/gTDRJkURsXahJRYW/YKFiyv1B4ixT8IRKfZ9yLsU/jxOyaqGZ5TXozL4g1uGwcDRdFmAmAcMwu1XkKSq8bu4SYxpe1F4bCN8Bn7w6wecxYFRt3EX3ndNmmjaTw94Fq2JEv1T6ygxJ9U3S4izih+m/xkZfknbsuA0B1HvP8YQmRKtmblsXR0GudlSzwBHqtHgxWS4Sl947UToDGa/ZQ5B/6nlQH0WDtRqMcoTxApbRrjQRdwEa75hAy6g0AHxm+fS5acOywvtf0PmdQGqR7vnvOdVh0JPzQ+xcECP2RTY2tXHt351SnkN4aIIX8bptRSkYHJORndmogK4NI1HvHwSoZeaJOXWGmbRfIsc+WfrjUTZIIX0iXv1ufPQv0WCrXs0kywBwW0DQmWucC0p1/j3Q3+q8opW5U3oPMvx2MCXl7iieXhyXmJVslKgqc6n1QYhRjMwZYBc56JwPyQvG5vt2/sSmWmLrVge9UH+rQBdUG3S4eTdLWZNbqCahp4CQr98FDxyZ/D4pPeFO3p5DBBLWerVoxwi8LEGviJH0ZoZDgO0Ab68COrm8Wu3A+dp0aSLA28Shd4Qo0Dl0CSYTKveMKDZOIRKlx41N+BffhQeIxsFFQ6ivvQ+p6nzyMfpNeDNwzBNcvjZ7LQ9LQUKGcBjaM7txHHNc10ginIOIDOzX7vJ40m5eoZH/rXCuLFgJEg4X3dt94ZJyzCM/SonycT+5xxF9/ibg/Xnc9Hv59IaxY0OFQXYiz0rN38dof/EYGfIv8uAOPuQO+V6T6OQ9HoTEw/B0TQMxPhrWlgA1QyORpkoMEnvbSgcWXyhz4j9coGOpfPCXXhVMD08luDMTusEG1YlNbOpeEQ0fmfqwPhNvbFA6pCXyYxkFmj/wsSl7GHFvgwyKudzmPQLgRBYCyTjNseZQbPT3TfRoAQmX+Bq1Rbmc1zGSmi9+zoSBOTweJRq5Mk0vIJ+ij6r+1wCrrxu1WR/dul+FK1Jc6EpstUP/0QjcnYOi+EfJeLHSnhyfFsPlHRih2+VHp2drows3N60g1wHw9zZbmxXeVds08SRqgJquJtT7RRpnIsn7menQfrQQxoapwIpM6cEgWq0PfiSUJvR1Kmw6YM0MDhqvCOz33Zfl5Tmwn1YPZUO1OsUR1DDk4rH9jvFy2K0Nako247oiCF/l5/MoHo3KF8+m9lwUmXBhUWe0FutQMkMo4I3CqhmACTSMenwvjoor48vI2gVzFRka6h31ZVRi/vVJc3mdrc6koiqTGwtCzhWycdjoq674WquKMYyb5O9AQ2aWTYdyWM/v8+wPRUqx+63ZeCCYvUkMbvJBRSw6kH/Jg34gbhDNDtkNE+s264/rjlu817ajDKH4rvQ9GjVZFdTnI0ekcvPpAefoXZJDfhuGl6G3jsT0+hDY5xvQ5eFLa1hzCkZAzP0A+8Tmq/jgJw5Y2fCpglV7FviRBKwgNhkIH4fe309BMnVwcSv7jcw5zq32TapxeVOOItdtN/7jKvB8X8bUIBcfRWZevcQCX56nC61uzSBNdN/QyNWHx3KDt9KLBwy4UuuzRyPB+l3VMrPM7eEMDh/atD1B60qdIPqyn3xgWjUdHJnxZdcBIQ+gFVlz1qBBrYkI16f2ytW2WSy+Y7kF549wfzzkdQ19vJ5AkkLW2gCZRm6qSqTmeDvXMcY27WEB/EFXHa8zsK9RD3hTlyWZPO/Xh0OB1qNwEfspApezEFT8uyoqsNBj6GDQlYZeYTZQrio6a7cCi80Fn1418hPkHArypXCl4rDMvrOU1hrlKOCgJ5K+KAcv+OYmVczYO6o3odI7gC8rcLgctVGboVIo8qc7dPHpBvCoJzyevWJ33BpIDke2XXEPhB8f/mbBGiWfyDad5u4NwQkAWG6Axwa1rlrm0Mq6G1rLqGaoGhIzFXCwyZKi9iuBDlxFyWkoHz6iOfbNsyksNPSsR/9GMzUPYb8u0Rjylz8kiMxWk43IEbVhWigTLUWojx0jEObPs1Ou0O53iljFaMRgD9eU7j2MACNBQDfqqknophD2njOX0AWPgc3XMcUE6PNhmnrmj+srvYsT6T3wmz1OPYJaDazTq/H3rLKTh7zc6d5eVW+aT/05k1wxypO7j0xB5Q+Xxb3L5Oow5bnwjKuMsaYfOW0Bo74YhaqRw6j4KOYwB+r1K0aE7p8Hwmt71oOdBPOk/GHp1dx5ea6SStWFTwQivJFW7GFCwGyigXsraD4yafMbznPnUbmP9GMXT77TS0V94tEegbcqV+jBxCarGNmgIWiRtqPY5brh+U/atRf0y8WQfEwd7j4aadq3Rf5mALhjFU/1Bh8xQCY7chV42+E51iTjqoNKA0bjLUSxRk3TxYr/hjlJYazaPfS1QuUGPLOQvrEpgZpVsB1EZtmOsQh9U1WCW1BN+Npcj5tl40FzYuYH32SotqMUFWxniY8zbNHFvZ2f+3cjK1Nyj+bPN09ENJjbuPRHNxe2+eu6ZNGyc/fwdQSUg1osFJqXTc3D9QbJPG4wGSz/adw/kR94SFBMPOmTUbqAeynEuCjGlBl3B5+C9TdVrMWjA/5NyIjIpX8lQlw/rw0Ef7n/kDFH/UPoaed8K6RVBPeSYPHQSb9vh4mBWNGVZTtaLroPFFm4t0dT+Mm+ZoVAWI3Ytw5lKrVLXGcR5h9cdyvv2SMMjQZAOCYN1WC0fWN150P1fgnaWk3d5NCkLV+iXPOO3BzP7FiUpj6v0b1hIqLx1KyNPEvESkdC6z+1sklHk5szPweAAtwL4bVsYQFTJU1o8Wl/RPG8iK+0rESmvKZTwYKrb/obU2dVhfEoTAfdtHTR68TvadkFAczlsNtgS7Mb08SaVPwye7TfgOSh6620lsjWfrgvg4UvS96+Aync2luISYhwF0MkMzkt4mQgScgkyhmPEFtwQkbe+zwYr/tLBN+c5vExALHDuPHEy81WJMkyUSIZ3BPq8IexXG/Ao8xHepIkhoMs4jZppUZeb7LWUa1KQe2UwbatHmzbJC3M7bGE3DCLdEs2kSQ2urbtaW9vCU9g7QcIUw2l5ST+pN1Wn7RU9lUHCB9fBUwOfwmyRkhHm5j1utVUo8pYGEFV4XVotTPUBKe1kc3+h7OEJKcilKodRt60DlpGdOqOswrYZpaktXgh+atjqMSTP9mIEL6jCVLy3gHd1lUZ1dzLvXTKKKkZdFn7/ek+JOohWnTm60bkIkjpnwCKQgUlc1rDRJC7pqUY/zicBSOvQuV/nRKIUZLZn8284R29q/rkszjO+2drB/CM+fB3ARrCTUhz5Cc6YHLAGVOKDUTIz+NDwOmvRpK1zVnV4FKw9G1HwSo4J/l0yamoqfjMsUsVOoh/UbnIVczix3kEF/y6GhDRoMVLJ7NaVeKQQ+OHL6joluvshEdlnTKpWslTc/2JKfeRFBy48C+3SVydac5lV9nOgiXKzqNcVLReEp4A2710gEBy70hmdWAN7DRVXNxrkS/Grj9Ei+kUA6XCUIbVoG4rXRit3jF3lPyEUSug3+R+nYAUGPyGVXLU1g3lQta7z8F84tCFXfvn2OkZSmHRoSr4/fWdP6sjKqG8B/8BUCybTqAWDMDaa2Binom+rw1zVh8ONKpG3HKrp5Nqy5zwVoiDLj8i8JEdpxzWNITPT2zgUNtHoIitAsk7dkiOuUfWqYQdW443k1hctZiszYutl1JiPYkrtjD4QsSwzTcN16KCBAkDKKRvfmBMhivyBmR/Ur71C4iZ8Bnjaw7dRhyIK5ROFn8Ua1lq8+R+dUeAAI2YVrdG5n8Hi6v1oqmIl0X/JFL+dFDTlJexwDrU+rvrLVdDtFspBe5UELan9VAwEFNuDcYjwxz6MQnht+3yxdqDNrC3X2jXPq0TBGUOM/h27z7TR7uALeBeQ0NU8fQZvWgaEd8nbFoJt3QIGOtyBy8QNSwXcXNIpmzAaSADqObIpHs4L8jOSqvJ2gxUhnH59np1I0KSfDPZkoFMx18c3Ws7uTvRpVLHKHsvDbs6MVDncpY/UuqQmVQfjS3PpiTbHt5fkhXn1dbDzDir2m5DE9GfL+xu0FPte0B5C1k2XFiZ3bal/RLHSIScu9m2p6Uq771KAxbFkeDyXuKXP6zgn6uh1DnlzVLUXSEZRIda3/JRsf3FNkczYOyh3wWxISVUcL1bP5cgWZ2QYGYMxF+hiX0hLaBvtT2flk8wnC83K1EvlDUCj07bkh4qnBXzBMcKs8Co4tISJVzPFHOEjnkKNXHu+mftLbgV8Gh1xQmM0nAJVTEeTPTA2Z1HkfqpqYdTm3ZXNenDhu0ZIEceRhf1izzPvUtZjyNSo1LLIMUVKDt1w7QfLtU21m0FiN40MfAu2sGFiMhSrgNP2lzTyuv9rfqUcPayiMmjm5HJKYo6sO+IYyQBNl4Ojhvrt4MDNxsZvNwBi6PVq/WGQ8fx0x9Af/QBms/CsLqJk5fDmpcEKsvmcNhz5fQDHKsUZXMPTkK6gZuxIlR0C4nZEbwIT/AHuGLmTvFkKqXqAJWikYdOJVaOH5jWHUNEWCKyQimEZkzAMjgzLFCCLpEzsXzS+MkqSbJRnMsNstFe4HtSoYwcuH7F1vnOK0Z9zNRrD1MggmbSIz5dEAFJlTyQXyV2o19F3nss56BSTgxQPDm4g9NFWeC9sxTxN7umicCGZZhEAwDchNn2ICnANsAa24QbELZYgC2bHpWmHpj+iYvnM3iyPYgFF4Gdkb8k9CfyefsTf5RVuU+aYSB5lnbshy2719JACeCx0lN2k6HtS0iZfWDyPt0R887szIq75yMVdPt14vOHEkkWPXL2F3lCWrW0ZcyzXrZOD8hHq4ufbnZL+zsaoH+ThupuXskAXHslz2GWUdELgX5b3QpmuEPx6ICuzb99icGpCq0ci+Uf/4Iy2MGHm4jSo36GUZEPvxgBi69JGzZ5R7nvmyi0H2UG0UIlEnoGY+yoNz76CWcVyozT06MXGxFfRq3kXf7MEWqxYKqmL03k2q0M9i8V/S/P3cbO/Mcfd3L/JR+HhuUCvb8LF154hXS+Unb1Ika2DvvsNynl3CnzPAYYs5BuY4cT7p+QNyj8R6EcYsM2A+vynnOawbnNaeF4JWsYYQL/EYRABTrMm/51+U2aWKup+EUFmzGoAtX4xza7DutTrDy4c5H1uHsTA44BRMAZxGjMzvbEPSoENJEkKS7D7KMOGkUYFPbkpJClTb5ePM+hGb+Q0E21+CwTPsW9Wl+aqVpxW9ySdlt14ASgCTVgg3LAL8S9MfWHqzWOvcL8MqpivSwOTqaUPvnd7Sh5E6ByW5oOtNlrqiMlnCWBqwETQ36E4vRxU/PGpZOKHzYT3dwBs/C8F2TfxmGxqkQoiX7JfqYzOOEnqVezObwUonFNaKoihS6lD+ZRbZFcLRI33+hWlA1GNEv8Y9FLxUOVbYjE1RKZ1sbZDLYkdHNevSRIa0FQv+1+C2fg+F+MKG7xKb2PxZyv/y4Kv9XoU1IX4YVLu8cI/5/KlTcGjInHEPM3oq3GU9W0xA/DiEuD5IV8vy12Dx+pfx5c18gM7jsdCXnfrBVX0+i4El9iwXjfM2ERZULtKqw2MbzFqm49V++yJIgAe56M6dtorwyR1ipnBreE73T45aFgHn/J/suiwAZozlfWsNQogspGvnHb1t3l9znSfiTf6sHYnbWr+pnmR1GwvWs5+BCvnv+54pdZI/wAwVq/5fEMyWIOBhQfYrEZYCNBdQf6uYH726UQYlPgGWLJhLeLSMj22VEFqIWRS/KDHpiciuVhnM0fq4T3oSrZdJKdyunFqFTygW0CYQWdjCamXQc3t945mBQ74g9BvO1d4ZzxLJlPqSh+YONjXM5BOsZzU8L0u01Fu2BJLz9BshisBJZxiQcsh4k2AlPLWVheYpmLzKf4aip7Tm20Am2jXbJiRaJOuj03UVrZr6upu90QYt7ckwhWidbiclqoCyQgN6YjlAww/vjukg4c35vhcKvCSQQ0I+4hdGGrMT8VKRrG+I8Vg4lHBjREfFuA/n3ZP1NtnGqC0DBXq+9rFx/30Y/MTw2j+wkDuxrqT+xo97rNqi1LlduXm3tfoWZsjd4mceVyl04mK0/FoGUaOTUMFJcZyGCLg56zyUWVcywM6O8SU3jmechgakzgTgcfwsGE27qwN6bTDw9xEAKZwf6rIrlbcDMpxQ4+/M5ygjGEPLBzha7BwxH5JWoqYYvk2Iz0QPZcbYOMu2w3Uj386CVbE7MLfeq3DnxSUHz4m+uJfhARSKOPr1oTC/CdRa7nqLncyScGO2zRYrLb5EytDXRVWdr9s/76M3CCBh4K+fkPMY5X2F99R/eDe8LTwz8exE2mwz/KlFgCFrtBGVrc3Tbo4/f+aH/Em+YZKDyC3sulP1NQPzEnC6Yww+UPm2cDDsVwP8EwRlXbo3VX4oorUinAdq98YKAWQEi5V6BMVqp4NdOm0Pwi4IGn4V2vKjwTVqYhzQJ0x0QIyteo8ZoGPsk/uf4F5ugUtLViQJ1X8HySaPX0XFOo9V8tOvB662BTATL1FPSaDc7UMQZF6sjJMxGctWc3uvOfX7769dUMIFeekUC0ldFQ5VLc4DpWROYbSisO6BWipuD49v8HHM3oBuCxW3jnR6zvEyIe7vGfHwbC2Ov6uxFIzq/tBRWLePz2oLo/NmNgRvEbHeAF+EmJEWAv3Xp/5so/BHKYN4NIL4YkomsOzL5izJxkAhC3w9KAG25eyoUt6wiCj+ykB20bGxLvssadPHvnwYPIwjZSDzUftYGin/VM6UzH0xGlnzGFcnRUrMbupXlKbv7D97JBcNt89Hx8R7Ch+LVFXJmqS7YIJ5OJc4l2iuone+ayI/VvW0n1Y0m551wAG6/zqwhXqg9TVsR4kvEOtfCZW06JKsGbUdFJHPvxg+1hZuiin+NLMJKkZMdlA6VaWOoUROcIx9QopJINZdHkZJndjfcdaLHvdP6K4m6XQSUJHVFKCf1SPzKIrS9EYC+FLSFPeHEg4Z8DcNHU/hhIVo8sCBQvHw+rdL/6G3TyeI5uQc3Tx9dOosQFg7pXDkMVaio0sX4eEy073WUwUfBKmixO0zfw3xAPqF7TRv23vuEmc34CqlUKyhVjODKVohI+SpjaBxn76s7ou5mUCvKoJSFaHl+gQFu6+WqCIOwlxC1YwMTWmbOHOUq+P98BrtKL0NkWjNG9e7JaZ8sUH5MVAyTVlzg0SjOZip/y2XSSMl07RzHcbG2qiRf182TmamieznozMunpZUrEo/7xHwxLiZkp5iRutFypXMULJLp5IyrOlHal1RWqQguH9ywJcPoapZZ4GZGKQ3mhJFCp0gscBaFi7lzvCe+9MltDNEtAN3CAFWCdq5qfoCwN/+x4g4ooCS+bVSfTONJJT4RsApCsgrYu6t09ji9JM6eDoZuzD7xANqRrvFEhoQ0BexahWR1z8NzTZ+PBtOXy4YzHjNPYVDn/HtPc1GZNl3eEuvU8uiIhFVRN/G/6NTTjuz0Rjj5zj+1RS3HKWogrfIvcm4T4oHoF97DMc3qx8jx5EP6g64alaNHH9Ha9fSIcbnl0jVlIOUikiTTnsl9M9KDpE2nLh+fRh633ydxbEx9Cx6PZwTkWao3mdKfkwvkPcZK+mxV8K39CjS9n3BVSqKV2GdLHjj33F8ORDtd62cWjBndgGuPWwxIAnM2BKRn9lzCeTDxRjLxtbqUB71d1Tby6USaDRBHrsPMVoBsHHIFedfRAa7SfPNtnCGUms3xdKS7D7gIJc79ZNnX+0hSBV5Kyfk6SYY1PR1WG22XeuU9ET2TcOdb3SQj7u51LsE0H/KH8LpMs+0SykXPEwdREwIkOkyg8bCMzWOXh3E0RdW4wT91ycdrn+Arn+Zk/cfwtgWrko+6nzoCfx0IHrB7/P/SyPxsDD7RUIWIGwXmq6lNE06+d61bah4BzjE02nhzyofHLTZWCpRt07xZ7WL4+96I4zW5Vb6hxXxaw2rVRZ0ac03cZ/VT0J2V8hgoQsa+7jM461BIYmzTF99ZNoRClQRcURDretCgOlBsM8EqmIuPzjP3lw8ayOZZlxLnkoe1QSMln1EfvyUIwbU2vXHBKN6rBc5H2qncwVs7VODsjj0ZHSZs2Urd51XpkeoFGpye+xDAc0Z5k4ri0UHw5CQydRJqIpZsMfxaRsY8eWaIMyquBgx9ZEga7D2LZGxfSdWsqwZG4zefMkQN5+52sX75aOOvqYQaTwX8caUCaB83adnVHKRQw+Llv1hYUF166Frd4MP4snx6YPj36SqIT8nvaMC3NGOnELVK04TN40rnEUaf+mSvX76J7Ts2/t38RwH5vwIRsCH6ru8PJU304oxPYVi4Ad7GbZ1wtI8yzdV2d4TE1ZSUhJk7ITVJavBhvcrc22mKMI0FnVFSGiDMfSLPhGLwRQHwBIK72teeYazfC9Q0nGgJY7SCaLt9dgjNxwmmN5ZJS+ikTgK/5H9ibOscaJvT9u8Qq19c4tqRYPf+KU+5DSaaAlKAiguLgfK//iiy7F9mzFK0tstCBkjIFFHKFOmyoSMHxOGnKMpzDViIU4uwKkYR1s8uqcnifpB+lRlLkvThKdQ4CPjutgWLMa+uJJxls9L3fZsSE70HSg8a70BFBE9LoBeVMWBC7+hsuPJVhJAoXlB+ofEGzN6SceZo88X48vfjgpDcgBguPzUS+dL8SqSyVFZfoqqrL5kLn4Nq7UVKtDBBNzm7ALYooT9TBQwEi+TGD1Zuh9VWeBXP9W5v5aRWkIuWKh1enTTGUfe6L/QTIHn8l78CWoV6icc1GqEhae1gxjqjxRU0s7PAJJjn67sEDErAdHybiURGq4BC6GxYzKI33W8bWp6lwrFa5vNHFq+5WzikPFRg96l1bD9jwspUmWl7eTdfLGy0Dzm11QwMIlOJ17KrgNQW2wv2OB1EGEI5xu404pwtDsp1LhQH9HWUzaOoMNtZoD13NyCBF769mZSCyWGDfZ/LFzI1V+G19jLcerVlCEZRy3iqwcKiCg2FpIB3AOknSJdnFHq2CgiyXb2p30EXUba6/1z4n7+Zmn7l5dLHH20zYk5ZgbT5Ifdc7pliRUsW7+TBBOEJ36al/xxoNLWJfBb1V6hFtv/B4tCQeE67NQOIqnM+XXI9WmQhf3KN/sU32F7BZRtdAA/1m9Jm10J04TpraOiwTWKSnvFcBLUDWYXMoQ/mqQrF7ep/lClBqz5nOPN+Edv7e/H5Omm9LAd+/sAy3oqnxWyYe2o3LsyS6iSfsEfIJHohfXtI3BYxlS/Tmow6kWqtQjKE9Na9BFLaDXLiIOkzAkM61DCwX9vyZ77sTRz9bEAlHoKeSQPk37LRiU+zm8BGqQ4fat9uymqH5DUXhRlPuEwtgegYzp5twYSNPjy4gqGgZ8HKhMO8+xbeBQCIxd3aXr45b7t6goIlAfochWG5rPmnq8A5Nwd+I/C3kYpd+9Yawd2hNRgiAFdBKGptHX7Swd27hiJd7TXpE1IHOXzRoiA7SlViBsLfV2g+8tQzowwYqGUn0q25XyEQWQN4pyK24p2GicROzWf2/Y3RxnfgMlgX9GjtINg7/VoiVbsvgeAKxA+Uw2RjbnYc6vOSHpC0C5UfWRYbBS68qyHmKheL5/TZlPbuF4/AprWW/cBySkf08IJ09TA+OItiv5woYkCXCnkgG6CHJJb6l049UrC8kSVprlMTBJGjuUX87VCEVDYbyxL7cTaND2vKQt24crEZQrO4x8BxhUb8hxvAN0ZAL+aDA+0c44oVq6En0rMkI54+qOPCWitc4MDhmICTv9Xpu0UZPu3UdLSgGUGF4OSV1lsBBZoMztEVusWNa3xgzPEQvpOJ4ACQSCS5KpQ/kVGunKzMtV6mSP80aBU6DbXSvQVIQUbJrmYz+KDEJtOrBC/cxd1fuLXdw4HPNaZ4dHOe1SjAbyipXJ7FODfBA8PLsDJ873eMJvHTXA09F3qPjLd1kKAhA2uHtE1gtyRHM032zYSzUi1fQFjCRNG941ZdOyZHW1msiJWBhbHMlECZaZ1IvtegLFIGFtHi0zsjATxHJgurJmF7C2ace8LzCQO0Ch23WpOVNt5ajikvZadiDPL69klhFxD9W6VC0dsCa6UvN0oZu0nbdjl2YNsiukK/DUUlTOja5A66IOzmO1KQPG6xauAgFIANwqWY2jAerE3Q8wEm68PvtE3ik+CxviT2smNnY15k7Jr9LhX/xTDoVMDBtWW4TAtKFiYGkMYcp8PbF/7EqcunU5SUQlQIyxg2Gh2c0E5bRg7A6J8ZIFw0atDYCktuiswuZyQesO0Ab4UOSuWKVxSRFqp/Hg+FJY7aGCKCDfYDVCZKm9KrCaa4GoVMF2B+L+fiPN49FBTNMWtkyPnVAdcC86ehfTTxqaSz8/iqUnB1dJmXXsmXrevqkW7fcE4be8M0WyvkBrpXK1iDJANXvqX4fc2LmB/E7hOo5hU0B2SabWwPVos3lWENUCmLgEBM0fS/i/td78jp/bTMTf/tOarisIMj8qHrVXqcN6qgUWTd6N/gISJnOZCzBumz6kfqApYIHYSTEm5Nk0UAbXtBCY44iadankEb4Thq19E1sBRP8uuBm7t29MiFZyOM4oCJlGfwAhkAu9/gsEujqmOGpa4aTAABY3C7GDo/3m3I6k7Pj4F+cdE0nUV2ZuqqDOKvKfrL8gpH84tK17yK2MQRsr2bEuBPYeIYejx6esBVn2S6mL/lWZjqyZ1ffn+vWzjidQIGgYseJuLTGMj/jgZ8o33ZfBjLl1ELDXg/Ptl1G3aVWzC+UW6aOJ9//2VuPr/zaYa/rkySPcOzvUl1Vku9VdZ5+vO/yPpeeDBUww5oCgy19hGysdj3PZSvdPJu6MaZAwUe8DLj5Kcqc3bwC/ssxsISEX2MpqhwJXfjADfLCe8cfGbes2XT8z3oAKjiGHGTgbQC+ZmRlD3du+VvjXWcJGTBteP7tnDqnVPJmQXLzF7lIIjpNDvuSUqm8TCu3dT2WO+2sJiPGAX/7lfYc0VE0E7v0s5ydpqeOwdrvZ4q0f1l6xKgWXw92K4KBwGOwk8FMtFn0tJM9wOyNjABlPQRU3rUcizEWbsIhDWa5E4/8ViY/hdLcwPWVXM79xWlPyMWq5EIFNjtQrJO2nLzH0VpgWuciFSMLVsyQDJm2jigb8+ipAoVHtBLkCakRAPb7roay9zJPsWfVg8Bnn3sd26quiyB45+aGoR5ptC9ulC9vYhq2uSSFqWJ9/sGovfDSjl4UEn00j9TSK6pXz297WtSDCD05HM/Fg64G6Cj8kaF0+ZHt5E0oSZ0BMS48W7EW2d+FlB4YYdEGxVn6Ff9gNRCzy3sd3JbM7oiYRpKfmypNZ8kHVIgaxqPXUGFDoSFZEUESemKpypN5jjVy6E5/bpB1/YYKYuCT1SV7E6AhxNVUJi8XsOOTitR5Id1cWtxNhIrq8ltAls5qqY3BuXlA/KBC7kJwNTH5vbFgqfrSI/jcMrgN5jMDJi4JHoDVYeu/AAbDYXj81SvzS+Sbp3AQU/7HBwNSd/NmXMivYkX1DUwssNRRf5+c3X5Uk6WxB8aZdwAabJF0uAUpPOOb4QlWc1GWedH/hlN2SI18XlDDKts03m47aPob20HwWejOXzGnCHk8dbdVZgBFo7oXlHBDAd3beur4Rm+ocd/LVFval6aVrZJ+VN8sH1hyGcceio7veeKSx6S4WrDiTJm5rAvpIp/45GljG9Np5olE38GhFG5wCvkyu8m72BAdoZQ1WzUgqPqPuqCUE6BeFEQnyuHwNpmxVquBXc4ikSpIgsT9mvCkbh39DLLzuA4lSna5Ewu7sYf4/7avrfOVFDLxfHzhT2KFVupF4gDXN3S4Nq1R1IRYSbwxkfug/M4BLAVs36luCOIxPFaaykzfJR3RBzA2w5rrsy/+9BoekEHCFxFdARF36IScW49is7Zkvon/R8VRrRU8LWgfkqwpQARL9Yv0JCKySLmnG3VhwV9mfg24cprRk+wu9jRKTYkyCXo1qguqfDO5wZ25R0SzFCXAjMDIDAaUWrckyPCG0B+5Rq5CrNfxh+UUs0JHbQq3z6fNAEEzaO/phaczyVhG7wh6haZ6TZ1ikjiGdfYOtnGBMyRgny4S3cP3r/XIplWIVn3lCMfjXmY2gw7hFiINkTDD2qJ4wUNCepJ93lFSCSOorV2O2xoalRWxQv3/ia4hWnb3BYS8yHpYRrXygz0R7d3wz2btsFFETR6Ri9lFE1/+J+TMPRO8Ev7VlD30eCM2NJf79/hJrpRR//+sfAqIwVWa+ntSahkBU/Njv1Jsz0ladBLqHCDItUi6VaeOTFoo+F3HpjpuD1nJT55R9oqEP6EvrOu4kiyA/gJpCSLxbBTC9jAfk+HF813MvVAZ8baD/IZlgUm/XuihCC8Fh77WkE7MAc38xkEIEsuEejYRgHjiqc94iiakS6kvwVGS3r4ytJy5Qx37JMnCMfBPYePiunEJhnfkI8RnSyF0WZL9KI+vzItSwTBzG/MFuf7DK/ju60QtBFJM+AqRdDdnkQOIy5iWV6Ec3c6+MUbj2QMwWo7e4jE66z7UnpLsIt4HMmrr0F84vyS2/rLd0Qdzv61wPbYylkcU3XxW7nL+ajFGkd1NB3xKYLEnYTpja2BrNHLXXId/WRaajr4/YMJqXBN2yPpeOVqendOzGv/fjfIlBhUqtfcXUb+88CFbejjcIDmjdFaxYnhP0+C/thEpLh0pmphmsqvI1PytjQR+KvfbfcLTsclfp/lRZki41O1KY6ZlZw1hmNdpnkFF7rNUTeMh2CLCBwTABgjiH77RP9AVsPno6MKLHHlx2JyM91NbP/XWs9ADNO+uUa5uVQvRt41bFCtOBq9McNZ+pm12b7sjjPES0lJLVl3HsGtZbZuwjR90eNCY7G/rAc1u0RDMLfbc0TvUooy/4S2cFMjcinP7v8n1lOrljVUyJaGc+RkK7EIY4FBYqYmKkkyoEmH47RoGce5gCd6L2rpcRDtF/op+jj+PdFNKAAG/XuHIOkdwz2Ew/9EbQBhMG4+1XKd184+l7HhT35o1fe95PW5dv9SnfuYwHNV6YeUA76q7fc2MjnYS4gjT976y4z3uP+Q54lKnv8TiuzCJIwwLbJe0PaeQsHsybrLzJU1UxVXnghq2eOQtoA2KQBgWQxKaaWaMui+n+rAq6F4p50b/Yn0+9fjnSCaCiBvFJUBsi5V4ekRqXkOuH38q46+84mylV2LSyrvMr5u4Lnstf6cEP4+PCEbPEHxiGFieF120ePVqELmFIZ8M+WaLxfPtykc3F64v/zmExgLAMmDiO3UwZZiD8yhVUriiRtE8aOXKSucB9b02Xm44C8FD59TNYPt0bgLV2L5x8v8oGDC/K37lZNU6qM/Xho1TC+e3nZthpmW81aTlk+ZP7gGaFL4kD28mDIbJaGzq4HRJt2N9EABQeum8VQIkKTLQaZ+6/lXUPC3J/GX5KRsqN3jas8vS8ewURqgFSw0U4/m3epoRKd9qLQHHq7ILs7bUGOkQmMhYgN5Eit4ihkS/1OWdfWK+9bk2AU2/xCNPM5IVzTKF5XNb04AH6FX2mddsZRHBiYMrVBMLw2iF9yd1PupsqFnm6lIkSmoZxy59dMmBv6/GQgAPppyM9nFm6UBXqgbxTVjn+WEnzC2f45qcZW7QO0SBc0lmtgk7ROGqmBvL7oJsSAtmS6ao00//eJCr5XBf6s/n/7DKLl6UnRvEjXCr/Y/Ld+dw1pyqqxzKfYB99lySSaywIHGWbauV6HZjF6gI3M2z1O5R2QsMiDozWZLIOFrWkvk/fQ+AFESkAmL8FN55U2uydgglkWzQ2TdPGfWNFWuwQQi3Mm+Yjs6AjxBAkV7sp7W2ShC5wONxPZSRFsIfgztVWdGAUI7b3dBYFxU2BO7yLGuGEWriRyuR7l1xiULfOZ+Yl12L6MHftB/DRE0brC0ZX1MY31vyT147gHZvVPHCD83Tu827iSdcYJge7YvANG6QfApw7Gv5CNAU3cYbKwdsUZct3Cxa1rQbnZJqdVQbLszeu7xVtfNbqzK8uMJlRtEzhGzP6kX8UTwysMwGjkVhvolsl2XCD+3iKy+WfZ62ISuGAupjA9jxhA3gzLbg59AhMzWZFxHR98PSFmv3pTju88nGU9LjX27v5ZQZk262P/ZYLHGxK6pkgZc8soi6vMSufETQBUt2NXlbasY8TFGTQ6Iv+ZLuNKgxRJbrwWhcvBeIV+QeKuJ0ChKynWk6eLCwijp1P9YhiNG7O+3Zg/sgM6XQTZpzUt4qy6Yd6cMWW8WoZUlQeYEA2kwXeXgrJcL04Q82apSQb+6JfYvefA8JPtdk+szhbP+5YWCMqlesYF0HrbZPWUARYSDe1WFVgLOcG4TPITWTVGCa3TDPOKGNDrL9zLoOVQ4TCGNfNU+vEjlRP0FmebnGMTv5D7qtuV/0iXTF6HxIniByytAcrKuHY/I1hc8nXWfPQOmzWngT8z/5NEMI4BRvQYS4s6eZMsnJm+8ucKVw3jSe2q9GUMj+9R/wnTivpn3eUmkBAxySklv/LQZRA5y8405Z3WYyzx74eQLzQxHm6K+RYjckUyK54iIvwCqc2tmKYOoDmhG72N8ArvcLmJHkJmZ6NM9L7CcStGXPRsN9RxDbIKtetsI/ZTCUrkE+CjMwIPZ79WsycI3ZcJbOQwEGwiSK0TWa2x/R9k/BVHJ1ZZJWQNEkqQPNFVNc+3kD6Oc+Fzclkrzy7QjmKGStq6B5PDoT1hv/7K8JYVXa8iBEHw94jdggft/ocOnZTMwB1LkBCePTh5qHE18pFLonfGf9mlgrwxXqqDUspuE4eqaoM2wSdGHIHT1c4vd7rSw7ed3oqXrNTgOT8GUG2xCZ4TKqFAgE5MBPf1TzQuP4p+mTiumG7v8tWytyNZt6yk1uwCzSTf3grM1ru98E1MYN1kloq5Bumodc+89b7ybdcVgBe+z5R/Sm6EDqg/gTb3V/6CWqencCdCRGtay9Vr+MrokBq7tN44cfVeetDQ8vW/ViiZDo8S+G2ntf4x2bDGCLAIehkjwswZh+pVXhu0IWSgGeVNguI9w03Wu/WYyWSI4bwxjCaUiFNHVogX/jkvR2b2y8RUZ/cK2YnkswnbJRJBJlJRK3KBwC8+icwJjGU8qqvZobjl+Xz3U+B9uwZu8NUKbnEOD86JB4vCBvFIapB4L/PcjY8N1wbg10Z0VnTC90wBcgCjrKpbDLEY0DK0kPqlfMgVPhUjZgOsLcelKkZJZ1c+q9zZSI0n+YHfH2p9J6R40K4HghV1OT47xOa66KjW9mn9nUW5FYCEuqkMs6tjcAD19iNgkXQCzvyr1+04h8OMDMFW70vsVzbNMBY5U6z+meLd/TE9R7tdMAFxBcnEf1z8o1JR+1a2V3Rw7uOtcQGDzTVtnkRg4DixBkkD96UAgRSjp3KR8KSrCqfWfOTpXnD3tYxIf4/99xcEPvS91twUeIQtv4IKxLNDtZvI3d9J4MU8bswNUQKpsicDPeVeC2hzimHW+0sOZ8n06Ujzkgh1jGvRH2x4qJSd8isPO2I/16h34las7Bh/PyjoWcHeU87Vy8s5D10eVzUkpkscTT7qTZRflAbh2nMvyEY9hji8tI098Tu+7V2njFbbw1jAfQqj2kNGSRvj28PsNC+1To0+mLNXG3m93IWvjWBNIal6mkUcuRB939SPkNw1bLk2utt276gxHwgJvYvQJP2pH7dUq/OoTHToCbhlNrS0ZTGuv2GkNneJkxOCr4Uw6OdfeH+GU9IqW6HCydT2/Nm7o5IQgUzJFIxynrjpyI5SR0NoeWHkKxwdvh70ZTgcHi9wiFS0u//HDLndjzaa/ynXP2+xLkA8adJ7CmpkGG1hevnfTQTXgx/sUQwbFaSOSf/lpGv/c71gZUKbSDNWQRakHOpktezl4N27S/ewGQ6HhTHIzC++Lqn06pKbvvs2c4hQslMSDLMH1QqUOeFXp7hVex4tzIt36FFyoQ8pGJ2XGQKaLkhCRgtX5UnHjZ45IBPPW3HvQbZPP3wKpnVrw5gTE6LY52lz+aZDsCDwCYLsp46Sozlcx+SCzabufoipfRDK7G77SnY1TQyp8gIIfGKQSWTmv1FdlBWlJF13pG91OoKclNO+PERDvlCEEtYUDlfBCeqBd6sCKbLbmClgExxsqnzZTdXzipcnYreesY7qWFHufwawSxPcSOu3N5dHcGSIzIClIQ2bIlK2FQSsOSVZm+xsJy5AdyWzlwjyQgZTgOvy2gn7ojJkqseFR33chsGymlv8waKYSxwqxck3UF6leh9cvIb8guFDgZKms5/w9n+6RcLz0pnwRxQecMe2fclF4bevGekDnR+k2wiaKRTB5wG/QKq+uRhH+D2v6wFJc37GKLJdkuC2T3oJYAnVhQFCS4YV04x/I6HrR6nbN8kZUbmZaq/A8Uz05oh9rdK7rvEpFI36YFxxSpwulDkIun2HY+lbIf2qA0sTz/pscuP71lm0BeBs//jI3dKNioIr0diCi80F2L/Jt2VL1MurkbuJcNPSq3nWRksWMOAciTsgogqBW1jtiLjbYiXcwu7OWStNXf5mhkkUVrPTJ6arDp/drojvn4HKJEEJ78HJzQg5jc6e9qZVgnK1huXKqBxY+7M4mO3p9vkZKJsMzvntP3unyNn1xNgPrw1xQpjtQUtPFrPEdyUOarighu7QsdDLULRRqRG5Ft7qeX7mt3sJBN6nkv/kEuZ/5wn4yNCqAU1DRQDZNOEKpUKRBxkBrmcFhss3xfA2g6enO/eJRT07tEUtXD7QasiQksnv6eXgMqYMw5kwbox8Jj42tq9B6rKxWqa7j5A9pJnMu346mr1fV3CjHSIfe3VgQejVNZFjuUpi8MOut2iBzlPPTreXkTq7KGGK6Z8n7WyxJ+luSmzNNWE5gm8XNeqQ8fxt86nL9EKZWEgk2y9PhLMUByiHP1V3Z/x3Ir16flraD1/i0L+QMgtdq6B0onR2RShZ/g8jnNWK+aJtiyVWiGQTyuoyjG2Eo8Jb7h6l7RLVGgG8Fu4EBW9YEfIZwJNN+gdAJmE0e7ok0Srnp3zDAzGN8RQxWrJB5ewM0kBKT8nJaIjjAJozCG6mkA07QkMORE9h6K2rkyE04IlL9P4ek6TY/H+oWCawprgiUFzVf5YU5MIXdl6fHKD2FhbN1HRDzJU3ynzv1sBRvo7Qo0KZZuu8xewWXPdNZdaPZR5javYioPXMWmv5dei5yDY8YhFfC61YKx660998Tir0TJQhGIg0a3DIkZb0NQvcoj0IBuTpcCUpOlHpqUIwndtjutzPhG5Ae4kdz/Vo8WgLpBTVHHVziUSrfDYmswJs6vRhy8iNhJKfREkkyQSVI+7XKtdWMx7LsJTaAcn9t8nEynkVWInBM0dnXKslNSQp07SiR3edFPK4WhmfnGAK14nswN6ejaAocySVGBGsb6QGLnC2LEznTSJjnUfrhGx4s1x6qFzqvKqUsTPllBHNKSfntnjjS9EXmOCMJDSoR5kcwis4vbaaQ6PwbXfYdCcmefbTj9WAfNQj0DnNbCx1Gnw4jOAB0j0umNvDX3ye1acJx3I+1VVZOMfk6e4ur1zkI5GWDN2CoPStYP1HVowp2yV1wz3hElrwgVhn8AH0/o0Rbu885qiqJUhH63CjImelrGUdibfrXN6sHJvfUYqB7wuekN+nuZIiGUzsvXe7qPGEYrEqwRTwj5ckkOgMGaQlMy9/Iwvd+AWVYNk+TyOnvqTYMjfs2fyOya7OofiVbAk7QfF+fNnWx0e7VHlpf2I3t3SRzTIOcR7wJRLNq8XRTMoA1qVhosxAVfk2VNHgxzJFcskuyV9JrR+jytWg1IVmI/AfdZWGqvUOdl/4yXEpLQYXGYEi/GXduk5sSsHQ0zWE9LHiXUzI952bYkt+ppt92GoseExz7XqypKq1pjm9nkfyHAKRk+j9z6M5RZ3EpPRErEI5ofI2LP1TvWARauR3DGB/Gjxd1grHYnIobXYZc1qN7xa60ons6lpkMzDiIhKs7NCRVkgH7kaeSWuNrN/CNUj2/eK9zuNJJK33AXF5UCmiuGgQM5ePZqXj7SXJMBpgwffxUoWYZZD1L+fJ9mZIVvih0cxHxtX6Sup3LwJnQOhqiN/K6LdeXBUCKBSuaj3XcFuYJMr6WVT7PE9LDSndzPMzEnTRfWMEORg1yVK9RPo2UxbJF9OLWhko27ZkPx3OKBX7yLMhOAYER/M+SYJb2fTb1+wPjbCbg+s6srCOmChPQCwfoKPPrFr1J9S6SSDVQhJ5Qo+MPS3PdsfanyBaTzLqu1b9SL6Kimoegv3EwYNiojW2cO/DhZj2Ac59DOlH1sqSkXBIaqfARNXbWeUmwaaHizu7npP6qfhGXmZlf+x5q4oaJA7vCZ8MNb0CPt07Uq7ZmsHkW3vV+0ydy7jVN3YBTI3Beq5mrHsb8iOTzCvx/8s34Vd7g1Zn4lEM/0trnLg9GshST1cpinDRp4r3fkuWVL7x+bMIGbBr68mXKimsrN+KD61yq8q/toCFFata6hvqs2x7FatmBanlhGlYToFNaLktKcktGRqWc8RoOEa9wOMa9Xh+1xNIMHcvJ6QhJjJVgeUECIDH3A1zds36o0sLhV64nZswnkZ+xOd3Czy6scJzXDx2+Mk6zDDeaXchfmKrh2HckcdLrLHLSYyyW6ggXQx5/WbrPwzZIyWz0l4eheW5RqyZuV7bm5HcU5F5DJhbHVbCai5eCb2OKU6spvF2vx/zRnbOCqE2oe8TY8xyDXYWQ3R/SonOXCiaeAUDghctscb5PXrTlByzFxsnet6q2qocXJz7Kgre22T/ptIK6YerYN0D2ypPeY0MsL7q/7ayI8ZUeXiMNTrWC3FxtqyFX3WlTDvLMDfOqZsRaHFJ1rVcdFalaoBHfG9EpaawR0vTPf1TGXUQPzy6CKFdVSN0DZMSuuvXCCllV+3H/JOpiWOxBSG/nvFvsrSfXJOaQ775ej9Ti+vgBOqcDbzYvXy4TZOvqIiga9728QO4B9ukGjQ+EgjocIVxrmgeygYzDP/BOAKo/P24rOPTl4z2rkHoi83ihx/5IqR+/AZu3/UNKp5UKy/6HjEQZiITK6ieR028EtN1o5ZzztfQ7RH1hR09SyHhVBwuabUMDfNHjkeGMagN4HcaJ8eFXYegBjaVmP8Qdv+3qZ690cYg+nrWn3SlarpuptJLraSITrbYdsddX7l4w+ihaQXIg4KlJGT6G6fK/MABYQ0m+U8zN0nNlzMXDzXnDvLfOGWUQa7HFiPhNcs3h3eu/UHtmVZ7uhM8034MVQ9mnWzLke8+ujbH3z3ZilKuhphzCIv74VF586mjux/jpXOOu6p4dpegPMucpDGqTgJsNJFoHlZ7U3rSiX68FlmMw83TbZb0KMZVFZJs0k/lduPPIzj8XgWYeRwHO5YhJYzSQL9jRi+A5aRWDl9tt/Yt3lV+ke/rPHh4a63uM2mNstRlV0ra51i8C8xxPPAVPOtTyKmImc2075S/6neL6LA8LUM712MWZqZsfWlskctAgW76EqNP66TrmHToV4cBnQOjnDzPmjc+1AjjV3/BgnRTPOultlIsXXJAoYfS9+taCF3mj5wQIlnYiK0EgbspRvqdemf1jjk5lHPPux1pephJpiy2mc3YFZAuEHW+HyvfZHvkukSA0gQ1nZGuAJZ+0Gphy7DIbCtboYxLuzmrRY1VZR3mRjulSu9PASPGAFsO0oKmJXNCGXp3KhtSGFh1l7BoxLSxJfaKqNaf7gpDFr3AIeZafgLEWS+6Dir7uol3mF9yiSkqYeESW86/3mHuHzjid2hbUsIcT7II7O8HNYSSfbZI9swZu8v/WpOTtATu3i5YwB4WU3/zMu8/eJzlmonasyP9uMWMU1rG2V6+PQoidPbEiEI1lfc/mFlAwVeTkTcn3ZGF7bhRPWTlNIuDIv6FfTSPCxQo/amP+L4VhtYLMXE75bDGpKfehq2AcmWhwn4t1CDpeNbUEHyUyMM5K9bp252FW2D7n7QF+hm/gM/Sb1AzPd1lnOp74Pha1sddyOJPQbaFybIv/qKlJd5a+xsmVYcTn+HpAwHihFJyGZDE7eWXXVhsvVnGoxJiwhETGudZ3p+I25nUuZmqHfWSfqHNTKL8HFLuT0lX2oEuL+kTdcROfjzuyum9j7orn59sxyGZTUVs8ML/evXXGrUeS7BZV78qlEpd2pr6sAmYVJgN98MhrK468wUrCI5rUJjKa8/RG9PQV2/e2voYyaS1ZBIe5PeV9Luy2DggDxsCNjjFTAoBn+48HgoRVMEIk6pvbCyi1nBwSWcxjQzFb+8u0r/eh4d1Hs8NFUb6uZFnt8Kz+ER2q7KX9BbxyijHuezt6z0bik0W7s1fPFvlWv9MUCJ4ILaNwrI3s5CCD5W7+6Tt1anrLzWf3ds+RfPW4M8Kn6Df/5mqtGSVB33lTnCrBRKn8Ct5708G7XYuGNZ2SEUV8tB2Wpo/SxJFmSYJZ7CoJjDd439LEVJM05Fow+4ma4m79u5fRDwsDu4BH2QHcssfBrDB00a53XJTFzRD/zgBkz1uBqE0QAO+QntbEbbqeakXKJbHjzsyBzOSDZHb84fXk7LSqHR+hX+Nj+DGgoQ0iNEwAQbvJ6Yqcn4Gnn15i/hyFiFlbu8E5HKbxE6WTBkXhN9xxqhHFkD/jjcP0UebW1YM6TSOYLCGQLY5YNNauDaZ0xoHq5MKeGlFo+ozWP0PG02iknNwghQQr+iXvoVJJMeUzCTao+5VuThsVufCURYLSzpOwR4ajB6kjrVkVXPrKL8UyYjBz0uWJirRXBeApCLTGWcjSXF+s1dT3nTWCRpBbkNAxZDeMlHQ+3C84kCEJk9c6NDORQ32O33ptSGE7VbDtmweQQizhKz9qNYrE+InhOsUUWlOdEXsy3KL/pRqPOEgiUXwKvFSSEPZwnwuUj/TSvzE8DWijHWYXMa419Dcb7XX4xHasPFx2f5ZsVtyBryvgIEjSqqOMUfswC0f1XkN6uJ+E93KWfmK3w+CqUwZWr+YKncU+xGUrPZGApPmbrpJd17QLdopyi0nodjdB7gNPL17SslnRRXARAMf8yZsXO6bTV8XmLyXnyyAs01AoAtcE9PU/RKox1VA7S05RiRZHaCrt2Qm57qJBKd8We5fQ/7pU7wma60GMUD1fCfBfIsWIzsBxmF6udZjWTHNjvWeejxp+MKI5SqFBosxs7rDlM/guB99UvEtRuOb+poECSX2z6C7afl92AmE95Z26rrl0+EOZPeosJXOjVMF+eey2rVNb3DTlNJyu4sDLWOEIeKhWHN+3bVyiqGV2cFEAC7iUkJCw1lh9ym/zpeVZC0xIrOgyrvuutD3Jk4QGGWVQN4qG949j7hUbH2L3fqvhXm0ODkjefEis2hwiC1bpG6PwkbG4pPQ0bRIsXjBuzLy2WSPDQ75giXBC03Wkl1ucxAiDRn+T9Xy31MAsWyZjtc/wo9NZYZ/p6rut6HQb3SOVNKvPT+7ojech6M8VkSoqfgtlDHPXWl19Z3BGVKVaSHAjWBS4t0NTkMo4Q/+M4zPznP4zw8aKk4/BU/wIJlL0EC+A5O927G6bBfSbB8XLZB7V0qgytBLc3XMjFJ7ksYbqFSOBdC+JnOvQAz9M6yhJIIlKVBtuGnQ/gM/lFK5ffVkaTStve2srTie1abWLufECA292lwsMY3F+uKxQLn2aov4ljqXid87E5fbY8n3fs9PcV29KX2Cncz7AFiw8Oh+5/TdPd1zFW3JBF5WnsfrIKVolv6n8g+vj1QMqzbkOFGPCkuH1GhbsXQDs4mgHWPlQyiGsHTOXQeB+16mYW+AWo21pKu6MF4iFOOXWdPnj4Er0P8NnaUuc9pAiDA3vvXoXkkXCc4VCy23/cffI34APdjBdVv+F2vClOwqWIpMydooJhKRCzW62NXjAAuxoV9q6tnbcQO1cnHBlgrmn7Z8Z1aIgtj/1yxO3KCqXDDD30YPa5tLIO+E0ZvoiKc6iHg7Y/7EHesGk3ghs2uvvBpdnawo3xeJ8y0TrrsV3dIpEuNdOUrJgMqPW0p65fHzOZYHOgZiJ7DP8MRqj3HzWAWgH1HoMpb0MIhAKxyKbEpzH0MXUuiaWPE+uo+YHXzGfD1qWpBufXYOVT8fhxCZChqLrZeSzh7Uk+IzchZ2bcwm5Ll74cvX5SYHU2GPc7C+DlIwjA5SpHFqqxYapzus7Fj0E81nLmcwfO6mEwLngSh9MnK+0X58rPgETrhJpW4k5FGrms28pRz7+JMmMxDHHprx4PzlbkZs30vy1lA2Wu/UZZNmxge3SwACkBnIj36MtI8Md2T8zgT7TqykJkVGa/Rod2OXsbWpCK5G79XPtjoqbcUcLi4TH+qlcHrIpr40ZUZUx+rDIU3df6Zokntf3fFM7o0S4OjjTTVpYy9KfwsT1oS4QZ7HWFl0VmzOydNr7yRKDbJcJJ9Uzq+hvkraNTiVH7EMattv9Jr2sRcS00nPIqNZLw3Z4cAnGyePdnz+MLI6yPOjwyXZPABFg1GL2Onz9vLR1aUHcRWWmXzxuSmBK6TLwoMviOhgWK6jc7gCQQ3EaVseNuNQZTHhJHJSAaZflfX2yDNawZ59rp5VQ7mHVgk3D7pszYdiHdta1x6UrDkVn1hz4B4LtQpQLQ7gi5LiJCteeS2FFw4Tl++9Nu6a6YNElNEydE1T7GIv60AdOV41u38hqxhbvVUm3lTc5gWwprtJ6aGCYbzcqtVr3SRomuwwPtOK3JvQgbLAAWgeZaq6wR1k4GhxEYiTheTGbAzxvOBKasm9Jk9M+gSmlrJSrwK9B3qY+Oz3L3ckK5W9WfYaLuCHB8Gi4Jic+9jO6HlHmGlBPLKErDm8yVWcpfhdYa9KYUq5erpn6KzxFmYkf91fXrQ0ieqBzbOdfiBgwQiBIz86mtBAYJKXcWH8r25iiGc0RUx813/S4sPkP3KL9AikJdAD9w5/uWqHfPBD4jR/32RVX6ti+7jbAf/wnLiHpzvRbTJVpyLVvCngNK/HDy3p9tvvx49L0BHerC47LfgAaMhGeESWaCnuGZfJlYxfx+AndW88jQbmGgXPya4uAlY+J9AbgNuWXuaweE4EZa+p3bshFnViC4iCEYuGJJm7Ub8fYeUySuG9Zx5OwYc1b+8y5BWLP8wC/1lnrY1rvPsTafa/lQQI744EM8FeaBc7uGOZyj0NNOYW2HH2IEklWPmno1CpQp2X6P7XfV5HneUYcnUhbYC0LoiL4dASyjEOHw6Qdlhcfc3Jl6BzGRqsN6xYJSnCb6kPmR69SLjSVHwOeJCF3qlDDgr7YZoU2tv2IefPgYnvM/TJpR94VtHHITf5B5uppHwXjzlOv8PTgayHI4kzV+t8GnzpA0rn0/taOpkwnsCzCATV8o+ljkMKh4PKm5xDPywmQVmwswz8zOzKI78Uw+oQBwytp+MAcTfc8hGeEdpIxuV8hRUGo5pYxad7FtovyQBWn3QvMv0CiBUWTUC1M4dvRShfhuqtFpLgJGGP1EY3r/dbR/j/J7OpLO75DqgHDkC2IFKWF/Ru1bYb9t4wFrle6f1is7ASf9uCluZhLSdApFM4Ai4FtUIPmjm0exD6a3Lo4VhdZIHMR/rqYnv0NKYkbW5GN582mwH7QlY8zuQ81Q1H+MqMQ335Z7Z74crGHUy+yI0X1EituFPH0qOiSas7NxfLi1uI5D1N4eOjidvPlzM2XBjltLl9NZ8VYZZYDSdpMB3fx4bjd7G0nUpIBIow8DACncS9MHVI8SCkWjqpATx9ObmFpchriFIhmqeru1cyGkVJQTqRNGpGzrS74Ikf6CrzK6+M/sfMfpk5eOaWTcfyquJjvhEleAi4sC50tnSCxn+NJ7vV7lQJH6LlzdSeABG2f24yTB+ih1mHJZgchGxi60PNlOXkXt7jL28/Tz3xFx+8f2fWY3wOROKhwV9J/Mp03XoKXy87JUnL4c7zIwN1Rilq6zXyW4/qM9yQkfxAagSN2mhvi0ALsiw3J6Or5mQdhU9wFsrRznpCj9fdfYx8mY3AkcEH8jI08+DPDfqcu0pdkq/CqeM+1/I6wDvUvRDVnANENmFES8TGeve5hJXvK9jkYbkuGSNOlIzo6Bj+NQpZVo2IRMTFozF23tx/TSUzhPO8+WK1ngNW6Sc+JcmeFS8yC4+LByvPwMydmrKQgBT6v5awvTjzc6T+DT7ktGR3ymZdZCp11A1M12R/NsSSkjxg0IP6j0SYlSy87MNNjru74nQ2+7buoeUclD+kdc09cH3t823bNL+XxJ8MqZcYsCTCwJCmnHgi/N+zu/rh3K4f4MTcyihqD5oUstRwCIJY3GrVWLRK1EXkCEfpTCr6LQjuJHMVZ7oEhE5KZ0uJXPPxHwLBME/9Za2kqPlVy/0zCwW4TU/Dg2CfuDSAMU8UOHffwwCmFD2F4GsD0RIKcwcdL7saQL/g9XQwSPmK79ucFwhpNjX3TKSJW6RBUeLilgbu/9h4JEMCek1FwDZNEMZTh5Ad6GRh6SJMPIEhHI4gHYorGuuxm8z+5S62Pr8DYHNH72X+st1Gr9AHkqpBevIXlweScF5pj1MIL+2Q41smpBNLbO9vY+ztLaDSgM8565h3YNX3wty9s2c6+odtdxXLpZFleiMbtz01kb/XzIEP7pol9BnksJRW6YNaEKEfJU/hJmNBM5QNvZ8FvtR7dshihlX4ykFO+kVA6EZfwV87PPwXL5kJ62zFOMHD/sEYp20gFrLMrRkrHstawUJjoBI9cTOgGXDwoqzWYV9q/OA3Al/w3hGsGCNSlSIi3BkxTM8iJPZEeIRbWUtLeG7Jl6FFmJBL35Aki/I1+s6uu+WKt2UAfyjpvHs5iQgBp/RPA0v5fi2w1iMcKKRPxHuduzKCVa7SkzVEQz0NPzpFv2ZslxKzRwmQJP9HeIyUAJ1riChKF+kRMZHz8p5p7GIyfLAePPRymttmCZqS528WsjT22xpYf5M/cwIxyl/ukX8zgCMxahzhpBB8TVuMxEJnluPgjFSq/mfRUNKUW1DB8eKNLtv3BTHDn277b8O3Fe4vqvJhf+pQhP96zjD6ylWDBYy/TSL/E3mgjFjory1rFFDFegfTs6gFo+I0zclqo9jfoF/H5NabB2OcVNHwIfIAdpKOGWc42PlzVudKs+3epjjvzI/NqGpsVrVTM4RJ9+nuM8ZCCgdCpcQnBzD23TRTdecm1sHA7lKs6exaz7oHBknB5jczOhEhvNv/L4BIGgv9PvfxVkY2o54DTTzUMufiLe4NRxtK2VrMwZVnh6T9q8e7uh43dHXnpjdsV7EpcAL9f+SEaSbnlShosxFqvJ4vVyOA6kh1izyoGbAm2qvfjh5oBqdeT1fwei8RDV4Fh7LC8yy0iscjjlG7dBY3R3RmQUiZ2LKRIuJdXTe3IEyNKyr8ofw/3F1Un4ROqlhdryRusLtuaki8TqzdaRWXGn4tyRaUW8gAmBBAK6SNn4RMI3JtFvvfxkWjsVwCwgz/PyxFSWGKD8ofpVYVPh4O9abzl1ua2Ns6FXn+VaCV3E5f34Q2qwdUeF7nxsIdXb7Zt7/74yuaGomyC2t5VTPSpXghpNocSJWPDqUnuOARCuP4i+Im0JMao5u5ixrduZQ2wL5TXAHWaDWFjAevawKDyGYxs+B2LAvGHuZSgk/w2mSMIF8G7lEAK69QNJLaQYyBTNnlw+VkaGwWHSoyrpbltwIRWl/blkczlHlGqy5c8rd92HfDk6pcAO/QqSdXYUS/pDZxRNIfuPEHSRTN3oGQDTS9IqAWXdjhQcpgQp2niUPtK8xQ7YTLRUKCTVxw6g1hYK6GVTcHlTsu6E+7nGecqw+VRgL6qcpZMeHJ796/amAOGjLov1lqFRrTKEjXfSbL3LCrvAQXuO3+xVle+KdUxj9XtKi049elvwl1tda0fBPfug4mvtjnGjh6sIgujNWYEaMfLXbpGbdeZ58V95r4B+itz6ngs9LDPIP2UXFOXvHNMVQyRLAGM6TrT0MPHX4UQ1way1eCMmlmBeVE2STbRx62hO5nrdNliTKTCSc+zDAFlelhh1xEgcxJ9GOctStSxwUQxVIZSEWB7AgbBd9zw0iLtVTluGSJulcM2DKTAIJk5EJVA4G5KEPTLe9ynhNyjCRUSNtFLn1rIFcmDmMQu3mf5Mpzt8q1Qf6k10GMHKsTiJZk2HRMq34nE6JRm/9XuChaLbcV8Pd/0WjvYi1/zuiMQDMicl6ErEWH3jqYMwVgmvyBihsMnNDgawKXLhkULA/SAKI8e71kwcla14swNynrZXjL8wuupWEfpbZO4AZ/RKpNgSqYR8tkxCbiGDm3CPpQE/VL25RTBtkGQwZykY/b4OeGr/nH5HsN4yms5X4QkhvWcns37VrSVGwU6f4D0AjQdbgF3tk2OC/nGmq3BZYAJO+2nolVWuKp1wPM8V69Y6vgm4BACL6UYfE4cBLiW1GHeQ8Z9nC7YxBhFJAl/goO32nxhbtmyr3Va5f4zvxSOVjarwWI2oVxR3r431il7E4/7F8eebNh0M1gZkOSTX9SfKbkaUfgfUL/5DQ2YbtMUc2QmO00KKYGxVaeFo6G2InqzDDSx7n6Pimir8k7+xDcU9RJqP1/VnLNeNnJnzwM9SzJG5au+mExTRuW+SA0DdWByFXG+0nfl78UFQUd7AAYqCFex1a/+y7MYGWF2nraV4wIobPyeuuzJIsn57GvaaTFiYOHxSnTbL5qzcu4MS151KYkUBIm+7dLAotGjprqbhRlZ3L5hmCvlmJn+bCbDicrVqkO7BhHMP17yFvyiCgwSCwxtVIaO6+ieJxE4GZE+4arCUdCJbIRx1Z52cJ3MeGLHoTweKH9DqtobPZ7uXmgndNexJ5idoD5vC2FetGocURZD3M9i34V/i92Gxlt04Y1h82QY6Pojq8+vHdjjwkwsf4bP95mCxUgix/KnswvjGKPPd5099tO7wzwzmb57qlEEbcct6/j+rHJyLfxTrtG5QV0+/uJFqhJG5DFkovt0CxUtZ3/Ibb5/g69K8/OV/4si805EvNvpOQNMffuqf8UTS2lFwoPhfLNMyuWKEWO/MIHgBXIijxNqjmZUvfYTOLXgvPmVARpnCuWKk/xnCrJBsos0D0BEGPBQTcxlGrMX3rSyJKBuPxUVTl+kVcXTJCmVyrROfGeM6qy/ETm210NTXowCnEUJxeXF8/ise0QQhtQCAjkBlWtZgazBweykxz41dL9Vt+dfJfFNnyNqILGvLrSZ1Syg1LA7bS5+GsbfZKVo4iqON5kTVCQ5gcF+8q+8/G+EHGGPHgw51Hj09k/wb9VnsAg/5F2rGg82dxPVmDe6gXG1wnGDPFXx6SpvkHNWzpejZJWuWMcnBAZlEL/b0cfNXQ/DCPm/F49kNk9sP662oJHjCRiTbS6LXML1H4DnLmJTWfgREJijR9pKR6BLvc8pt3FHyIDaVtSsl1F/2aBmoYsg0tzQRWwqpKk/dE+gD21ajUdNKVNVcrTvT32S66kRBI24Hh+UJeM4vS7HT+5pqfiKZwsNSMMbAmzxiNw2LACUlf6r8fLfZ31moNFeimKNDT0/hqlbDmyGsabldGac6joMiiDOv2P6aNcli3DkHwrEbL6Lkoclq34qkv95ZWQ/BsvvAx4VKnexJUxJ4ssmlH2cNAbJNTbJE6TL+Nu6p0A6MNPCkybe37bZ0KQHKqdNv4wVMl+WtJ27akbRzMP6niwDTIgZxUzIbc41nh4swDTfKgvqvs1jzADHr6Gkr6wuMdmqQjB/ClzIckB0YnmG/V3BVdjlBAOCFwwK/YfQM6H0oC4dXA8xqUze6hohKc72kc0CsgY3RTYxpwUiWj+25vmna5mdjKQumJC6dwVspE27u7cDP9xXhr26+5ZuIc+A3aWzHyn5o7SW9z34e6PFf2ualJFCQ1jGc7hpg6gcfDyN/AkVMRAZgv1X+v1seHyK4Ki6RLJ140vYM2C0iNHg5hE2YAwdgTAY2HaLtcBtkT1tRBHblp5tUtnH3knibgVgbhs54ypkkheB5/PDfLuJ8+jDDvZ9mHT3t+7nbt8xxVrLy7jJZcu5ubNpS2IwTvyIrYJ+cZ/+HIoBgJsuq6LjLoaWnq027To5+kwQgTtDHIbH/gpXCSS1OYYLBlV/P9yZ0SITPZTZMXLfQTH2Yuj1ekB0hPPUzWZswGRGdkMstKnKKmwfjdGpIXDhuXmkzzVgRO/7VO7DgImh/ZGhAdYCKq4x0nc/x/vNDh2dILs7n8W3KqqdYpGQUq8ifZztdqWjr6kzgnez93igo0iOwCenDwy7Cow0ZF8jy12rLaHGtxzmWr1YsANqZo9G8U+r+zqj3TbtftQZOPUQACOEk1hTSeqhyEHu8U9kvy2WEbS8vEC5E4qBhXzRZNrBq+9hHW+eIcbNI99bwryiEvVEy3QIShAqZsrV0z4VrSNb7792HqZzZVNl9akZ8EGa16VtZXLn2U1fA9bpda76tstM5Ng3KrKVvhDROPw+syDEfBzRMlSPMlpP+/WUIQH7KnnXIlSSguoJKGHdqPALnayIpkBif9uq8PC/oh8DIQBu/HzgL6Xo5BBGFbv/XVFiIb9oUHe7+u1nB/8Lt6qFk/3e2M/Uyx/hhQXOQbebWKFXVKKIyXfu5LEvDlFm8LMoEqTdr4ckDwzkdGjaPXl/+Hnz6IcPjdz7EyKqdtZFJLJnLxdI5SomTRQO2yaz0SDxrqR3xyNUwXQ4CGrZAFjnyU29HHJe4MICuo8zqGBc3i8RVh021f8I/RQFeGenoKkxhigAvLIsjgFUit+s1ijQ4np8JtmFvW5ls4R9jyZTwrVjnHd8mhdJiFFi89hAkiMke5WWaTfDOoSkOUKZY3E9DAPAwxSDpF2iakuyrLKeIW9q865TG9MIn2gt6CUsk5NRXAbRt6yOcwXpqYO7gB1oaJjA0WqvNwy+PiwsUV7KPKfzCKHF0RyEBXaPsSmHEW00zpI4b/Pr/LoSSqB2QyH19dqUBliJdvfEv55KcrqoHlM22LxCNHjzI/OsIfZbSBYAx/2Zb2fMx/3U6ddMww+JFJ8y5LtnhV8pirfVbrCMlF4yhIt4lCnA17Wqif3Sr6sQOkb2q9dA2zZv8wHRcG16trbn16cE8HicCgmNKUXm5GXv/U9M7yHudeDmEXQT+7l5zdKRml1wkcIZkAxhhDNjexjcBpiaulOfyXAE8LcKn/a+NqLCXFMGJyujiuJQNyXdOGPSJOBTIcuzIu2X0agaCOsZPxMihEoNGfP2FYmw7e5PQR3UobIW1OcvgptK1rk5cTSx2PKk2VbbrK9/rkjXplPnJZCkDsaxhEmLbehwk1qHze4zHVWy7vpuIS7UA/qukyO+LcDX0Lad1KKFKhWbiUMTYXsnVRfcMm4eF49uxiyfKwNjv1Ol/R3JKBHKJnnpf9/U3yw4+RotHVua5sazTgV/zJCNXH5MebIaHO8PwbXrg29afPbG7AkDuNr1+/TQmOY3jZFxrAqziH0gOzfbTjg5J+WcY10vOrk30dq+ieQ7fhyr2dMrZWKiTOULKxN4cc39v1Be00aihE/yuBmW9ozPGxuItJaPW3IlndDTxsUacRFol5a5D956eqQyu8lV7Y1lXNL17CQeIcFHgNOHmTPw2+xrD/vCYol9FB92Zs+iauom/kXdyyX5qzAwRpQtSgCUzFICuvQOnp/zG+cClM/feeMBRtaE1yHK3a4OmmcGAgFMEPXyp3uw+ot6wA3EiTRxh7jnKQSIGLdJbO1JaEXMRPy7pinkkJgg2+wcvtKfinNNnNV5ddUQnbCC6um+u0DUtczqjp0mCZjXjZQQv9p83M9Sg1MQB8/kgxV9tKBZmmKgZhhF7Lc6BU/hSFzr9q+2sowfYTh3xqo1b4dk/XgilLvpiVV6NYHb1wg84DZDLK2sa4iN4mqjXkUlpAiwZOLSIBY7aeistPecgw/+UdBMPKCtd3soUwYsDT1rku66UoXWnGzNVdfFuuoraTF7GXWS7c61dlBPS/HwS7zoiBgsNA0ihVPVqfBkQA+opetseNFLcKRVPN5ozrOc9u5PeXJ1Gx0BaF83R/QkJizUOjnDJa3OoeJNg9ngdfwrNpG1z4hWPJi4ntDXuDszzFcr7hSPF5og75unzInm/LHBymQV0DGMCQmAGoT2+EqDUpxngsW38LOK+11neoNKVHUDQGvXMsxVtnkwdAnqO5wI45h86BuKLSWBM5gCUWCTMSyQTFCmPsrPJL67VHQncXfWPoENsK/kkYBWpuBLxP9ov2YfsIqS4DIQaGO/tSqxjfz12kdoDYC8oa5Jejb6zWaz7qZc0RbbrP9AQdYQAoa1Aj+4oWRiQmwPPkLWFe2lkbOebsupGT/mqNmS61jDitv1Kvspe6frowFAkqiuO8aERflX7O6eTyTVOs9rB0d+md/OV/tb02HHryLhRmaSZ+Z7gOtuRdxDcuVpjBEwddFMG3NHqKvIgVRGrUVjLlYqG+NKC/ankPZ9GwG5ZLJkxtLB9CtB+5vXOz1SQL0IlOVxApzFyngjA/2zdDqoUmnK8VrgfrEyI7QzKv6mimCTZsSiNNdb1A8RgLUElXF3EKW7t1Do0xN2A8sfoFJ84SYBHCOZtUebXh3dXziYY0xdSznOcDL8ybXUmeZsB6VLCPmv2d9H4aq08wHPsAO2FSxrfS80EEN4BqeMCBZ0+9j2x5kdmZhvfWkyDUnisdWR57KRB23tiuLpR/6JTKmOS2ySIU7cwSeiLvS4JkwuKaR/6SnrseLNNk30DdGnX8F5KulzrJ6RLgZ5nQH1iyBGUlaoDkvL3BzxUXUCdqZorhxV6GPsibvPdP9WNORM0lZQi8Tciv7Eyu1TjArFulOWAKyK1n9BN00eWyDFjjrTdisfYMlNitbwI6Nt9h5Edt7vo5sTW7akeJwPAogSg3CZFmFTxPY/sb/Nh1lMGEMpd8vWlmXDTOP3xcZQkklkesSvibh/889OR26+P8pcJ3+oeFycT9wlP+PQqjYwZkxrDzhfHPVTZQaWdz1SPpGg9Z6wTYpPzDpyTntAPlHqrDLIf005+MFjtrTGLCxdZ5eTz9P15lBobGckmD+wSegQa4d2xHkolzDnEYcagxHRDPLq6OVzHSqJY999BNjQRJ9dYybI9IEB3S4sXiiyXlD7NxqjtZNV80pazxgsEnBxreJRXdl4SI0iZmmMeTMseVwr0/w7W7DsNh8Sh2uFMmGfN8Jq2QyPKcXgL0HCiKY3aEDKoc2GfvDgpO14VO1XujkYu+IBtK9itDDx1+2AKT2GCR1iCW4Mjb5Xuq/t6pNXbHx337V0dB918H4Tww+1tN8hWTK0eG6akmCmAigGSj6IcXQWKrf3FcUQ0FjJmAPNitdksiZUDgW0KvK3lsg27RSBzOcRL3anktXeM+aUC+KuffkyizBfTWm9f9sz6lU4e3e4F802/LMucjx2FkhbfpEwkgV7CI/dKZSsHE37ilE7vm6vA5ADaciZiV0aHsU4/rT3izNaxK8u9wjs5skWnsnNsP2etsacJDxT+sifVqb2nX5+AgwWdb/UbBypkg51RtItgUGWjdtUOHKs2JRm6a6g5c1wIdSUKWvJ5sZoxbw2ldE1ToYDHJvj50UJ9I/JuOXGakLtWlPivAkoJEc5jcllbyuZD7lhXNiAYMSN1W/iKa8SMzA5BNVW9TsXE0dvrv/f+X2OxcsydHaOdaC/ogQdliIQfg7UXFBq5KO9SVgcua3p7zEeONiSo1KtTw3Vtv0Vy+bRh+EQEdcaHr7kBUnxFCV2EIhzlHKzkk6Tu/C+Ua/9lICVTiUMQ4SPgLU22PRXXMyB9Kt2rIS/fH3Df7+BdW2ifOmR92yZEwO3APS4Y2LDY37Q1a0Wzwsieur+w4GCATStbWqRPocoKxPlWN84QAJdQVX4VoLFdYrFS/zEyg8x9/qUr7g8qPbCDiIpeYJzoW6qSkeJt9lkbEe80fz8P0KSQcpRzhshOv61j0OuHHe16a5zk8z952GuvBpMphmsRZYU/cpPKrM65Yqr1LQMyki7v4y3pmLwOKcCwH3JyAYfZ1BakRIw975k7HVd/NjrB+0+7RuQ6V66gIZJDn0eajbyuwntKp4RZOh6Nofq1LS3Zl13Ae2H7rT29btujuz44TezFH36KJ8kzn5Bg1AzEey7J3uXvAgiapt3IW+InSqn8FesY5kCokKU09jyshYIAS0HlailIOmEWfGMIE2pJMOldqB6kDDoAmBArNHSPi8ISx6w9u7kf2n4QhccTAydP01ugTgjK990DVsYP++bHIeudqckDoHpJFgfXZeSpR9q6Q9xMpyNryiZOLAbyLvmtXcahGc/iCVhbHkk18yx3kZGZOcUD5fldCSekSFXEQjRxJsSp+jvK4PN2DXKyw4toD8JsMLJfnGIOlMeYRiYR89MV5XHPyVfgYIN1HNRDeptJCIE6Z96bK45tsJI0rVzE9tFHq8u74E6549OaboZfS9mvuovtpscP7rREo4p8ghZrU21eFduhqy5DTF8ScGWlpGshipav9DK6p0rkK+3ecxa9qH8WUTTxzkW/19vgG+G29kgygM4MiNA0N5DsvNYuq4Fqi3+NLNcw/r4kq+LgZCM/QKwPYPH9DphdPFuCARCNeDJFfAqUuhIbZjS4KdwzzbRVwfmIAwPXt97hfH7q6srVrNrtZIKCo/jNAfBhqJKGz+LAwesvZY1wkgn99YwnEBv2u8/47Ls2wM1VK4Bu8G/uNV3wHKT4f3Dvi3HxIkkPyub5vXG2DF2qBxW89yfzHc6TuUE79jHm+fINdL/EXuKE9bkHnAth1yPSQg915p+t2limGARZ0CpwtS7Rf/Rc+MABL4cMlWdhhDIe0Do61bdIMkzvuXpVPpnbxnedtEiSKbSkVbEPk8h1jJqrSs4/kdtWCFgsKZ+VbMl6TEid+Q59CTXmGyduGwZzVO8RbGxJNjGMtqUy1/Cz5EE8ceyLepVxsxYLBLSfGTdQhMqVqvd47jQtef7n04ix63PBghmf8/EeBOUI4Zfl4pQcNTt+mzQIuSEcWtZ0eGAYnQ9cRoqdi5HbBW/jdb1ZF+SDmNbqMykzEP3QXMbIeaTrP76iEF7LD3KcyW4gE6W8VBxF+Rw5sQN0xGJeMP468TeOfZkSzVtB1NFsApnFNP3huHVgVXsvqTEbvwbXj9hrH5sBY/od+G1EJ+HcUItVljU1IB4mazufXoz6VJzh3pCDkpAmQ+mlYtpQdJ6y9ok5XNjahJj6QPZvuJ9rFGGqW8NHqYiRHIIBjIS7paFhrGrsBXK177YSyo3LXcqkunSTwpaze4jaZwOwVr3lkcsb0gFoOR/oZrJ88OY41VkCzH8QUrKRvnJMqJc7GQqM6uJXG0HYwTT1Q49kd3brhar7FkooVe802OOjEJLRJbDaoyqBbcirEuvUj5RwxCm+OuKqt/9RibQPukBkYTukmobnzaxgnFcUBIWgowMf4ACBIcSq6taXtxOT7Jgf5ungkg+1bl/P6GYT8MGpeEL3Ouf7SxZY1TiIiKLxhmr69Un+bVZIH+fdugFFjPkhrKi+hnR8Ggx81BWePiFfv8gKRu1G0wlT0Gog300d5/a9pml9r9tsyDHqgB7deK9aUQjJo/jwqzhwR/oKN6Uq2S+yOPXHMA1sgxhxt8QIweoq0BsWq8IrvE4iKitOs162sXOPqWspQsW1UZy5Mj2lpsbWyrYdUAJPYZHmmiL57hsaqw/O+qf+q+hzzR5h4k6OhSka0kfe1hfzPbgfMcsaAz6FoCKqBLPZscuz0pz8gKdCsXKc3O78Y6NvotvpYwNmYHgQzPKl1AN2hibuSsZ3BmQfDikLXDSiGoIZTe74YC7w/qL6jyVMM8eN3ha7lJq+JYOUc0/Im0jYWNh7Q0kZsKUrWu99YHoiPZTd19vPrlUqyK7X4OT3k8dgZ0gAOOMw400jo1FPrXj1Vg+dEm10OTQIBOKIQjFdIvKtfJQ9aluOgC3SVjLYvQ/PILKPQEQDArM8COdt2qWtIStZZs8NzTTtJKV/71gZSWqAybsgFVLjmTOBqA3NZC+Ofn75iqdkN7HF94QnYNIQc8axpfhw3Hfb+0Mkc00eIJjOIINmUh3TBB6eE+aH1P5BPYkjAzqZ/RkBJZmhTpaSYCtbKcllBjdqbkx8XJ7RlQG5KdQ5oraR2vxc2kGZa3YN9P1QKYokWak13+0ndxIptUVqxLqS/Bm+0EidDL7mGBAFmdWjbKpx77O8qBUzBKyN3qMr4vcLBOFMhLbETQ2oL5aA4HgOzCrT/pVwtKy7gvRjhZI5f6ICe9AoI6/yWPFQ+FNgNdEx26DahszMYNfr5ZQ6SAZWyLMCO1bhYPdtcz1+M3YXIhi2zZEde0IEcDD58VQFA7zLuFWWqQgcRRM2RuNxWinHs0OqrgEwNwyyt+MRIrN92uWUGG58bHRX4wWgPqdBMC4Iym5cFaTndng/jpGq7cW1vINv4HYoY4cWOVQ7wk5YoVsDHmBrShkz6+VwGMR2B9ioK7/zkk/kPelQ1AngxOIOww0a4cRPSx9cDbLn9MyPnjQExRJlI5BbX9cC31kbFHoRx3P1F8s+txAEXgDSeVxozLTomfBTzzMErIofwcbh+pPrlm2o2AtYs4ton3RiuqdUczh713haplbiH0IeCbsmkb77ovHdiooKvvQCziUOCr8OZ0vu+Fvl4zu2fPDpwjFEu0DriwphwE3+mmnzpYDFndb75FZeouCWCaME2t+vdt+VjXQIcmYE4tbZqs4zO+IGh11QGcRBEBfo13VN8v7TCl/em5Pc1jM+vSLWAM/3sUalKYcq1w4MfONB6dO2wahZCKamDqdhy/j3z4uAtaT87ZaaXRX1rLYnpUi/SgINip+udzAOhxAszr10FA55hBuHyk/CqighF0hCT1QOQcZlkktXBWYZkvHhQUpTfzzWpcb4a0csY0Uhfwu3u2z+y0YX0r1tAMt7SMuz9RfI7imLqFVOpyjTi2u+KzV/Dlat5JzHjgW/dWV+5FD7G4RTApiKs97HvSRwnTBvKXBbaaS0wQPVUt7Es/j0qW4tJkTOgoR6nfRB9duilUD+ZFsBzHjqjsp+bgcf1H1W8GgBOca7y9hFZQnkzkTIrF+1dHJwbQVUcyTcp0Jn0QZ0ylUa05+uN/+9VSHXXgT1qF8I5xn4lsnEMG11PEFC26NCsSHmFriS0PtAU+4wsKJIt5vhupIWl6umjuY+flklNyEpiqxmEq3EJhwwO+upWxtZQTuYYNYekKhTZqv9s0ePbLVmhjdSTK2mh6Y3FiNggNqBeMfQ+yL0j5UnL20pecfN/ujHkYAseP4Y4GUNenjsfpsEWPEdR/gRGB3Xu8LVZezifzpx5+NF8twr8fkUULXYGLPwQ57Xx9tjI0wmoaSZyzaKOECFpxv0qfl8wNy4kf0pSsR9feSJSH4Z7JghedoZkPHIN18hWhoVIzICvoDcZw82gR64qQ1CGzNUzmzTe2NsBdyDoCQcRNEYxHS0BTb1Z/GO0F9kn+extLVYqDUQRc3Haj6igaQ4D9iG68y3ulKpSoOiD77XwBIU965FJVcpAucRa/+nsiLC9zOUsad4ceQZkmkt+v03lVtPoB+IWV5jsT9kYPoXf/Hey3hQOUZmxxn9IXM39Ie/QGX5Hyyl2Ip54/yi1zqTmFSnMUm0Gn2hevijZ3DUAtWodGntNUHQGg5TNtyHpvX3yPGyh444iQKSQHV4dPmeJ3U1QbX706hkGuLPYFIe2NBvkxxoSPnH0ifwoX0VZEh8thf3ROpXSJ7byqWTl+SUayHjnho1mKTRRQNFIC6tWYMLtHfhR2fFd9pcA806PLy8fxh6ca6w3J+zdhzoEwVQK/aWZWr8KjUXSrtc56EdGMRKBXp90j2Vvrja7yvu3JagdNEfZgF0MbccwJHjYYaHCBy6F/SC/FDG71y8uyVVPyTvsaGHhY4yBD7funxsRv3KLVMo8lWnfP5minaaLe3ZysZB/NHz+eRU9wrSbJtsvMcE59mtLu0LuKRKLT8lQvNbJiYXY908H6vpLSJ8G3EAGjQH+DKUfI/rxUKTviwFiM9wU78ZcCwhQ8pyLLHEes9bJo605f+rh76imRx2MVHB1ozRFB22E0SPKP4V6eyxDc+rDy4XX8+1kPi5RsmUcQnct12gzkQTycRJL817QhBnBs96XlFbomckRKGY2pTp2FmBF8OJrbQzzrJBSvXxxv5d1bXgflrK9pIQ+JsMkdVheX+4EmIT8VnBotqtEcwYAg0ErQiW+HigHw5zmsiceWIAU8mWOJCZEPagmIu9ggJHr9bhc3OHS8CuiBrrQof8Dxfon6UzdcMa0yPvWDkm9cGczNfSInEmhEvLTX5YAesyTIegV0o1N2gJn7HHdLrTKzt0VIva+GaCIn0iqieyCP6kY9T5u0KQSmZvu6rzBj+doKy3mYukCJdwBsLmOgCy1/VUv/0IsAKSj+Fz3VbLIu0FfWDiXuR0tAtAIpx4a1nMuel5UZhO8UBXzkdP9LX+R+4FxuESNruV39HtGtQ5ya+Mj+3/KREE5rbOMY+uEVgqe9PITxnLNgFuf7aOws/gpGIXo34W2kYeBO4kPS7WT1VagjDQ15O8TBY3ikQmFt6aeh719OOVMBUKS+fF0z7WTPtHZ0KRyx/0Cp+Ss/4Bu/znlCmu0pTKpCa3snNEDaGGgfbjV/vc4G/Dup4ld3gy3MSgaXG1MtvS40oOhccKQ94zL6xggsKt2tfFeX2BvFbK5AikkbVqMOG0ge/d/yD9onronK8hafkmPhqSVtNuFGggG17qN9Crv744SMq1uZm83AnBbDgQjX1AkSyLBbTdMzK8ynY9kpQgh0wEFabgEHj+iGSFffT55JiBGEElPL+FMQi0AM79HF6mif3Y6a4wR1ZhT0inVtQ1/AHdLH7bMR0okbgxWZ7S5MjPjxsauWrjWpOhDTVn4qpYQjqp2ySD8vSxF/J+0vsclQQYoQC8yMVEZ6hTsC1b0U/nG9VNZUGYgiLI3HsUyeITu5BDMDZ66xLVnsS4vNGEPTKvqWeqamFk23SFf7hjE7ILBg+/Z9VFCLpBQZiEwSFkZBnhSpaSpKi6bq9bZLKJTnWc9/uIBtgaM+2ZlyPzYCanwJo1a5Z/DU/wL/LA8uAvkma8vGsUWTEsh3hBprtlKLRl96hF1K+ZtDkxRxA+dWg22Zl07Y7DPzqvBudNFjreW4ZSmGDaKk+w3cs+3OGdoTOJ+iJpmRSP/B5QVDd7GsP8xYoppIEk8jpyvxYDHPejDF33jlwr+RcRRaZrqCRIytkGBJOoxqtK5XIcpoj8MH2bebQCH6wmI0MqCKNkyI1n3gBjsvyrRo7gQiiC5s9ANAejvDrywu1X/qWx1fPH7BYNMAZmZo5NIiA9iksOuttGo+MNLBkJEy8zymvD00+ULaTyUrtdhoiWmmUS6R3LsdLWEI8cypROBckPB8XGiM1DSQyuiG466Z0FLMb9simyNf1ptpXt8TzUuXeZ+n8N0Q/p56ZzUT189Ua+x++L071YZo1tiDVUUtiso6Q63ZxTL559tqqJnWzuTpm9psaLlY6L6Gdkr7bNUMpg5UWAp9Z1jsCnP1p9z0v1L2//xNxE9HE+UhS2bewtkiCAoyvJGBNLjG1txPMmBQkmMIHqvSj/Ea0Tl+IJvdaSJCWUocRqDI7hu2kGX1pH75SrZKsg9GlBLvDc7D/fHrao+EJ28OByXxplK0ZGAFXOZzunG1lQFWR8y9bzKNEcrlptqtisDi59WNXVkMW/DfdMscg3CEGDZPL392eb07+41oYIh9ckNyDAyUQ5U+OMxkMoOEJPErZf+kWNTO15LQRbidZnOGWuXJc85LJSjVYZS+qaHrLbt2k9aIyXDpCNRu2zVH/1+Oy87vZeXv1Xsz3P1WLZRz+qCIELM3QTV/2mkUHgFxIa/w6szbHFCkOeXYz2hhY5gDBD+TJV2scwded2a50ztSbehazu1uGozPpdROF7X5ZJvYxvmvI07Ofe3TLHTaLkDoDiBReuW2JUlGxbywBeVDfEdMgAsbzmRPbadOZA59OYTyf18zlR9lb06FDa2VROpfbVESeGnjyNHFB/GCzh6Jrt9whQ4cVvW6PB2lSoGZY575fMifkbN8+J/MCfoRrKZoV4WS3lHId0vcVQmnvJcUcW5P3KG6dHdFUNXFc3A7Vxl6JBFiLYCvrohmg5Ij3hRmyqTixbG8KoWkfYxJNka+2SdyJ/UnmM3FF8CLDI2aizbOLqwksp09R51ClKMVA7DX/XDf7VtTG4VL0S4mBOzSmjk8j33q0vm4fbUPCtB+14k8wmTCLTxk8FdSOvmij0cXtknpThXKI8BXmgB0W8rLcRHssRAXRyfITkQ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22519" y="1240982"/>
            <a:ext cx="4581368" cy="5486445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364067" y="6028267"/>
            <a:ext cx="30649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r>
              <a:rPr lang="en-US" sz="800" i="1" dirty="0" smtClean="0">
                <a:latin typeface="+mj-lt"/>
              </a:rPr>
              <a:t>Note: Federal source includes GLX federal funding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47705" y="1411619"/>
            <a:ext cx="4422710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</a:pPr>
            <a:r>
              <a:rPr lang="en-US" sz="1500" b="1" dirty="0" smtClean="0">
                <a:latin typeface="+mj-lt"/>
              </a:rPr>
              <a:t>Sources highlights: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sz="1400" b="1" dirty="0" smtClean="0">
                <a:latin typeface="+mj-lt"/>
              </a:rPr>
              <a:t>Federal</a:t>
            </a:r>
            <a:r>
              <a:rPr lang="en-US" sz="1400" dirty="0" smtClean="0">
                <a:latin typeface="+mj-lt"/>
              </a:rPr>
              <a:t> funds continue to be the single largest source of capital for the MBTA</a:t>
            </a:r>
          </a:p>
          <a:p>
            <a:pPr marL="742950" lvl="1" indent="-285750">
              <a:spcAft>
                <a:spcPts val="600"/>
              </a:spcAft>
              <a:buFontTx/>
              <a:buChar char="-"/>
            </a:pPr>
            <a:r>
              <a:rPr lang="en-US" sz="1400" dirty="0" smtClean="0">
                <a:latin typeface="+mj-lt"/>
              </a:rPr>
              <a:t>GLX Full Funding Grant Agreement: $996M overall; $828M in FY19-23</a:t>
            </a:r>
          </a:p>
          <a:p>
            <a:pPr marL="742950" lvl="1" indent="-285750">
              <a:spcAft>
                <a:spcPts val="600"/>
              </a:spcAft>
              <a:buFontTx/>
              <a:buChar char="-"/>
            </a:pPr>
            <a:r>
              <a:rPr lang="en-US" sz="1400" dirty="0" smtClean="0">
                <a:latin typeface="+mj-lt"/>
              </a:rPr>
              <a:t>FTA formula Funds: $2.7B in FY19-23</a:t>
            </a:r>
          </a:p>
          <a:p>
            <a:pPr marL="742950" lvl="1" indent="-285750">
              <a:spcAft>
                <a:spcPts val="600"/>
              </a:spcAft>
              <a:buFontTx/>
              <a:buChar char="-"/>
            </a:pPr>
            <a:r>
              <a:rPr lang="en-US" sz="1400" dirty="0" smtClean="0">
                <a:latin typeface="+mj-lt"/>
              </a:rPr>
              <a:t>Other federal: $116M in FY19-23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sz="1400" b="1" dirty="0" smtClean="0">
                <a:latin typeface="+mj-lt"/>
              </a:rPr>
              <a:t>MBTA Bonds</a:t>
            </a:r>
            <a:r>
              <a:rPr lang="en-US" sz="1400" dirty="0" smtClean="0">
                <a:latin typeface="+mj-lt"/>
              </a:rPr>
              <a:t>, including Sustainability Bonds, support the 20% match for Federal projects, as well as MBTA-only funded projects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sz="1400" b="1" dirty="0" smtClean="0">
                <a:latin typeface="+mj-lt"/>
              </a:rPr>
              <a:t>State</a:t>
            </a:r>
            <a:r>
              <a:rPr lang="en-US" sz="1400" dirty="0" smtClean="0">
                <a:latin typeface="+mj-lt"/>
              </a:rPr>
              <a:t> funds include Rail Enhancement Program special obligation bonds for GLX, Red Line/Orange Line improvements, and other projects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sz="1400" b="1" dirty="0" smtClean="0">
                <a:latin typeface="+mj-lt"/>
              </a:rPr>
              <a:t>Pay-Go/Lockbox</a:t>
            </a:r>
            <a:r>
              <a:rPr lang="en-US" sz="1400" dirty="0" smtClean="0">
                <a:latin typeface="+mj-lt"/>
              </a:rPr>
              <a:t> reflects an assumption of $150M/year, plus prior year carryover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sz="1400" b="1" dirty="0" smtClean="0">
                <a:latin typeface="+mj-lt"/>
              </a:rPr>
              <a:t>Other</a:t>
            </a:r>
            <a:r>
              <a:rPr lang="en-US" sz="1400" dirty="0" smtClean="0">
                <a:latin typeface="+mj-lt"/>
              </a:rPr>
              <a:t> funding sources include municipal contributions and other reimbursements</a:t>
            </a:r>
            <a:endParaRPr lang="en-US" b="1" u="sng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19470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Capital investments pipeline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2" y="1514856"/>
            <a:ext cx="8300317" cy="473354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Strengthened program management, controls, oversig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Continue to advocate for keeping capital employees on capital budg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Some investments will come with disruptions, cause inconveni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Need to improve the way we communicate to our customers:</a:t>
            </a:r>
          </a:p>
          <a:p>
            <a:pPr marL="685800" lvl="1" indent="-285750"/>
            <a:r>
              <a:rPr lang="en-US" sz="1800" dirty="0" smtClean="0">
                <a:solidFill>
                  <a:schemeClr val="tx1"/>
                </a:solidFill>
              </a:rPr>
              <a:t>Articulate what improvements mean for short- and long-ter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smtClean="0"/>
              <a:t>FY18 </a:t>
            </a:r>
            <a:r>
              <a:rPr lang="en-US" sz="2000" dirty="0" smtClean="0"/>
              <a:t>progress shows efforts are working: $100 million in new contracts in FY16 compared with over $2 billion in FY18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Need to continue strengthening pipeline, focusing on execution</a:t>
            </a:r>
          </a:p>
          <a:p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978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IDw8QZnT3KVLgIkmA4yGe3IRofc58oivK/ctSK/A/HA845yfDizhbLaIFtK8KhsvJ6XFphTkcfv72XyRvk3InYdwrOZF2GHYGLv27NfNmu4Jquw7SRkfzEy6SRwJjBdpBYIMSubuWIdy/Gz56j8FmLVUthaeMum3CtkHGlEBYvUYB+kP7ozNNzwC3aA/ps6yIeTRTxFnkwJbux5M0HvfnLO4dQpvi/yoDDSRHCrdjE8CHOP1upF0EMe9DcguW96o3Mm+qGyxqv78uF09oXUJmCwOAF2WxJ6hsENDGMPqsGJCpHcaA0pdd4OTZNLLwcS14lRSH0GCN5mwUQDtz3Q22UtNTO84NtQsLwjAnyf4Vw2YNykCYH6dGYoxnttg8TazVkYc6p1jTjoshFHD0pqHsLnQJ++wUpcPibPI3s53DIgtzaR4HTEUjBYHTyX/vw0Fjq6rw2PcblKc2LM6qPq1+TbkAGZqRc14+Lz09mn1l8gF206yMYp3xzYQJ5nPfHzOGGa0kmi9V0+k6QeiJZdNyKp7CENxWXiveSGDiNJPODxtqiMOQst516NnTKTFc+ALszRi5HciN29e/MA/JdAKajm0j2+8e79fHigElDnPfDR5XgCSsWyKlf6YgcHUUyC/crvTKGSzJ5QPlRvhIl4O/Brnmhy4bXGW5JGJbtXxmZ3Ym4QTlIIrgBWYGrmxg+a/GBWkxlbOI9p2tU+5S+Dq5jCF9k+Yr/WPCI/qfhgS8pBqfHYEoXiLejAhXeP1n47QQgtRKYxDI47BITh4SeCD6zP4SzkwRfIlV99e1v05EcqlUStm1ikFCiWeEzwsZmdVNbGFJ5vkGOYNaI6PF9CXszDCpYHFRyrBo/kr4g5SA9W3qe0eKF1tGV8n2SjQVoAPXznadS1xAF5qovCES/nNbqZxWtqkUgfWbwDvKP2ScObtZnF1dihIx3JhKtfUT82vFqlCwuLpXPP41hgnRPv0SKvgFlEU6NYhUJ9OL/kMJvwol6AgPGnB5KIo0iU7WFww9AHE7rduMY7Zhac5hSsz1mLDRFxgOutFF8fi8tJ7ZdIVcTZ5auFQsXJLTF8ZGepF+1+ChTGdbcdW/XkYaWdmDdDxaB5liH5mCkulcGYkemhe/c6NDLLW828ZrbXKJQWU/fD6lzkKeDupAmvSCyGptFCLK8BZmDHh0NiUZVm1DPQRRnI3GVbubcPpwJyuhutZdGr4r4gD7EG6+e3T1axMB6y+8b1IOo9j5A69946yIl3ObJJ4gB8ebuB+NsjJeroeTRmACKolywsqNp+ARiCiTBM848ysDgqLbcozr/CvAdfReqc1YjH1Dg/CfIJLFrLSpdm5Ty+z1nqrqknIPSda160IEQqWu20oOXbQXUcgF9EDaN/3bTk3TPEZDpC4PKSTVYJPsp3cKpb+PNR8W/CJoZ9JrFx9Xn3EzEp/UOZ/3A6fzx2HIUZLvrIs5gHDLdA/2yct7n9PVKxhtGDdTUylztmpHREiz7ivgWWz95ENEZr/3tuiOkXgcAHoyA+Be9Vvw+3AAObHl0qdpOzxeogN5ZhyHMKk1W4I/qy0iKzCVU0XRaW8dN1PPkpLv6t0mSAoGPCv+WNsYqCjHLQ/qZKQ67wTQtGIVl7G/z6T124VKtTAlIfH5SkEngcBYh5iPC7JZIMdaR2YgvnQo9/s2t92nfYasmyiyZFOMwhgRuZSd+koOInLTiYdmRssqaxmQnX2Pj6AJXlaXlQd9uv4RYIyeHm5LE1sWlSOHJ475PCEuoPA/G0g6XQcKi+zbFeF7bL24MklmxdFsCyedPJZxki2trma+fatK3IE7ipdGoycVjutwQ3VYExDjSVBfh+0Qk6YeCQEOar3UVFZQDRfgOLzeS3D6gkrQjtz6lUh/HfrVFJT0u1qnUnRu4c3J6h+gL0bgESwUnjYeEoJC7YsRNl3/9BPn2ObAV/fUHnLdicfZlj/99rEcnAhJqQ9nXJiBpM/602mNdIjWCeCySKfLtAPIRaZtyM2KlqDX1gYMuVCnGWIztltfJjZhxnM2uLhhLvYVz9YvJY0n/RcPAFeXws9weSCpBHSxaKuQDhA+h1Fzasl2TyVElay8/0KLioFCIpxD2TyQELUg705euNI7JWN8yLRNkGd7bfrdCfjcczckwYAj/VKqkMNchKtQqG73c2a+0hMiznhBoqGSdiz3kHHBaK18h8lrsvwf2OcVL0aCUP2Pal0+UZPMkqPxHljSCplDMuob9bEK1+aFliSBoxksCcOjMOMou4iMuZh1MCqz6fdG1sg8T6SNdyqanzymwxDckm1jM2vHLmPMmxCKNFBPv1Y+DwrjCW351i8WnCZZqMHux8s8OC6bFHYg61+8L5dqziWyryDCVqKxjKX14+NJkO3CKKHdHYZvSRMfnkKFDSkZ7vz+e63VdzoOpBMZrHy8CifVUwnISlQirTZzjiqxbU8nIY5II71i0+omcb7L1mXguA0Cx5fZJ1rCADbUknh1HZlhMgvHrkGU1zTTz9H4K/Ka/AgjbiB5RMV9sZUtfVgaf8V2wneanBpkpfF2tJCm499QF1b3yae769vNlTjFKWdSOwZ7TJswUKm2eZhUfYUzcKfmTZLqWzu2Yx/A2xpw9mlkvneznmaD72SYfM25HBRESHQqjsH/81m0Xe6xQu2uZnh4Ub34hZmf0fsCHbwrr2E9tPwRuOEZ0WeUMoyVItdqME0v8bSZne2dzsRFTXuZRoaHL4x75iK5GgsmL8+1z43djMukSGdy7z1RSiNtmD8vFD0AYpJtAgv5HAmxE5PqRKYnFgq6Z6TPpdp1dhbnZYiVYshXDAf67zvUqZQHclf/faGJqyZMcoD0/FZiO1nIS/FjyPkU9UoNPOHBqHm/BiKn2WVps1cwiMDD1faZ6NOVfU50ksPqUjfp750/Vbl2JwlPkFlpZwkx+bALZkZ3ckjXWFEXL8t5dloMXzHwvsGNmgaHK58cIXQTBKyx7URa/ZQopzWO+cg8DxSoV0lBbxvbcnpKkSAjX9LLoxXoyJXnfPqRg8iQFY1jlckSbvLl9t/Z1DJhdKke2Uv5k8KMayvjd59dZejSTVKBg1Re265FvM+omeCAywhnLqK5Fo1qjayyM3iDxV0ZG82d45AKRZKcVT6y+9grPG0Cg4bEKCHLi2YWwkoA4mGskyv7nEdtcWqaurBhU5oHsq39oxOxIIOgUR9l8cLakYjpJ6PiKfRkxOhzwgGDWGeqG7TBgyCf5lGb18EI6ndhxci/tQfGt0BwBy5nllTSHGImt6OSYS7oqwz6bucUa6nGQo/ouimliihHNg8AeMF0cNPgDtWmHtF9Z4Uog6fz8ACW9z9flbYTplWudhqxz3bkHleutMM3QAA065JwXif0tRXRsnnw6WXJmHOdQx246+nH4O5BBc03MC1RSH4VtnNoPPIvG5AnY2yTSfbc14KMNjp3TShdjDrfwAx04C7j2BubMN9bmKKxJZ0jWeNCzLbFVs7wtMak0ABxR4iRCcGPo9Vv8VSiV9UDXCfjk1BKX++DkbPKkTqv7T49nKfrs7jl33jpVV9UOUeXnaf0dYYxdb4MP+Fq7ZSe+P3pTRGzcmwyB6XO2bsdLqUIhEIg0NqRBysgOv5mRD1FkJ5c0Uvn4kW27oUYQCWD5feSqiIc6eCLdRjF3NgmTFRH1SIOrqgD9rGALgq9JwypC+1kOjGWhG6cQcv78St1qBpQUWKUkYp75VSYLtW9dFYJf6C121mLp1sjOBq1KiqtAkHBhPsa5bk6AA+P5hRmcXLeI4UrmjUjpZEHJGKkDjHUnGCNxJMq1Dy+oEnCAXj2GvMGFZT6zztyzjQkEzj0m0qeNtH8GFiuJ4TakfI5DO5SqRWoNA733ITrFuBhKJ6inKuCoTJK9LF1wXeDhImGXXSyMErCOOQUxHCMMaNciM4FR00WIhAwDh+Yvn084ARp01a3B2ndjQitcJ/gObxqa1SRraBFAiS/742/KSBB3PfDhLyf7KGcN8UDlqJke5QBE9E264bY5He/Qht0h9MDEhxXGqLf6d1o60oh6gWGQAbU42XgwNfp+AO+zTkHIdIIUNWGoC3Ri7PIasV99ljrA4b/XKbHgQtpMyVZig0YuPj2IiYcjiCMvWcy7rwR3OW7JoTpZIvhM/R3aOmdXO8wW/pRW9n9X03BOsay/5Xj6V0Pp2YomDzrk0zb4ymYIl3rCcS4jGGqi3CR2NC0OGSX4EajnuUc1jwbKNS1T31EuXUXteO18EbnX3O0G4iuhw+yOdFgkSaDgQxXM/j/Y3jMmivBdO37LTJDHRoMxiLqoVL2IgNjw550xnphdY0NVd5FaPUtoOeZPxDfmreuJ45QSd11267YWT8o/hqMp5cJSNuA0hyc9LURYOzC/DDSt1UoyADv1YvT0qTGltDJLYDsyaeC5INtNfYo7PleV4tDz4ihikXCwb7SYjnpjt5ikqiyLkgV7iuq6Kvtx9J/s8olfKoj5fVziHpez5OJdrFc19h5uMRRta6Ce0IU91XCSGrkYKNbdD4jdPZncD25i5DGDmNaJBGjh4IlfL380Cu56MmFeZvdrFVfBDPw41dPaSMVC1EhVv/AMo8nrbk67NI3d36fl+PQRIWsvzxNoKkpPKkrdc0bHNZGQSQTNDWPy3PtyqvWtfMQ3PsiZmS//5Za+hsuKUXvaK/NHuR3am9JIoc3S7TvaMowWoEkK8z4AmI+A3TH7J3M56kqARKLocNKFz/CxKWyPc6IYE/t+PNZtcQx4yF67ELGt0lRZ2njN5tsNg5dqvGe8Nio9/yg+XVwQJ+8ZuPY9fOQWfXHzz0HR9Qv6MFGH+sTuJABnVwXkCHVgiqPk4YrsYvCjyv7mneKLEAheuLpM2chiO8CVCbFYRgPENY/lgpTdme1OOb5vpJOh0OoF6+5+PPSgq3Tc/zyHS6baoeW+gxXbzCuPoGCFRWXY2KUN81OqNPFE2TK9xYL84i3HzTvn2LWGLuYV4osowNivKqOBa1C/mTn2kbFqaTyaFQyy1akkszCHZdUR+HEFrH5WclT5gv4FdIz/VjafTdRJ6U8IHSZBX1MF7gtlnw+BCPqrcEN+5Q7Jips4LQaWVh3jsjIwRcrdOYY/CD6XlemhWz5RC8DK54lBJOSg3yNoUfJD/2J+gWIDPXx3NLnTRfDPQKFNT6p1NcOWfJfUjEUGg1fg8BpaJEwcMOMRFASq4dmiwCGI5tYmrpSrdO5FldOWRZCMpZKgdoOhSEl2n2BH2JZ5BGJWV2whqflCU5XXm07lPc7bc5LOb5Sy/dbxjFR+k6fXyZW+2rsX85GLJFXSO+c2CxEJdLCA9RCVqponZtAij7iD3dwmpf2qnQMiTAaOEI3LRa3p2soL6+AyPBeQWXuv4ffo/iGizUFH4Kpds5Ht5Gaw6/AfCUklurmYZFSPP7OTEpWfBrXODzDz88O7HFRoBW9bfkbBVX95pm/jRvAfsXQYKoB2KN2qFlhuINHuc41OybKbzRs/TomcCulCNBnXIJyEwmWKqkDSSYpnQSMWqLU+nBxGbVzBaIWzE+EojmeDFEWQNt0m+QLg7DO7Gq84JAWMyJFrIM4vDHwQq37rxLejOuRuY419pJosR+V+WBfof4ALlL+QIErmrinphIS1N2zdQninlUGiEXjepooJAXDVAjb98LrcJRoyWJEnWOtEFCNvHLuH5yQQwTHduGbRYzyvRbN1owCtqxVmfQoCSZpqaBhYhDiKSTtIf3l65LwdF43ChLkhekMm7dHwIjtVBUk3Ubwc5d1C8XjhSsOWIKtf/XlR/oE6J9CJQlrhDSfa0kXFwkoCNBbZ0/zyg1GboKRIdpCo6hxrFkAt3CwaEdPDBuZVlDhyI3yAMb2T22HwbYRp1mcLQkt3BzjJ5JVSK+qOBc0GnxrOhCXiDPn0pOqtKz0ie9RV/MuDZDSnyMrIOlxRzDUEarKkT8bzPQ/OqNUSqnDu661eGFSkYYqj++c38TFMr2yR4DfcN+E8rHvG7C5qlraWOSEe2OZp+kLJShBsgtgoColNxR87OI1TNWIiIG4XGw8ZgArqCwYYm4iloPvyFZ2TX1Qz1ytQAMiCVa8+Mbp5oJ7d4IoXKP7mpIBF+Pu3L6Adf4jeNT4AVcFowA61oRNEtxvpzbHWqK816XoZkHJPPtnH4To8TZdGIiP/iR+ksUvV63p5RKUmR8DPh2dwmw7N8q1V6OFoIjHLvYYHez1AtV3JgluBBne+akkhZu7caLBeMLEnGR1i+GcUVd36J8vfZdawRxBixX+5JqewusRWhaxg8dzCTqJ3Kj06vDpwYRzIUYpolbDopqxldvpP3VEaQAatsrgNQry0rw6U4k1Zd2tI3jbdmtdjaQ8sgtmgpFslO0pihINYhwbs3I71FBTe6Y2xBMs0FGRfx5QEKNqhcwWu+VP5Sj5d0dE6qUr8ayXC3FWWfqSmRcbxz4zhTViTfOlSogwfq2u8nDWcR4tcR9KcgFBhDDGhoCS9xQgb/LAOlRAGuNogv6ms/GcWfcdf4OhOdoTuaTT2K0DbjkgpbYACSwio7fobken5dJ71B8SsvnnS9WP/gK+freFWtdioMELUs6sOnWDPe5MSpOM9sf5R0O7gMXki88NXpOghepkg3lrpZC9GLPmVkdr58Ryh+UpsVK+2dUrOkBwWfEEVAOXrFqGOjdN5v+K8XOKS5AhhdqpcA7qdS89ugZvxXFRmSSN0FY5JXIH0YL6NvIuNmi7k2c0nMw38yhsXfWzcui6+D1rpab+BiMzKPjbNtv26hYLricfhzc25r9av8I1BjKK9QoPuGNav0ivHvi3Qir3O3SJ/bT+zMGEUA5rWMZm0fizv5/68/eBkX9tOj3qm8PlCnCSGcKgvay0Yqg8QFtcYZSCLC6EuVc3h4xbbeuvbsEAONhwSLE99kG8tQUMo+KZDIQqqTV7luZFiYVTVDg37dj4mQUDgi1CYKKUnjjExw6ytJvJ7kQ54zapiSeNeRJ7mfi09bqSoTRvsznW2O3r5ncQJxbYIjXwrTdRoEwQrNrzbpbK45GQIzHNzv2B4e8Q3tR/IS5U9jDVFdroE7+8jspdbVkUmDxgDtubMi9C/MbwhcN4xiVOFheyPFjEplnE4jMucOnA+RahY+UoHewRxMNWCJLbRrYchjod2vMfyh+ttc/HY/diLS71Z+Wun7gQtkzlOSul2vrkV3EK1gsv0XRRgeJTwyNEyDUe+JJlrmJ91qQjxeiP/l6Qyw1c9ihJio1ZmLk/h6zAK+1uzZUDP+vcs6Ru9c8ABoBf03BG56cTDsvZVD6SLe5a2InnNssV2VBKRfQLMVfUdxLy0O3u6OE2L7LmwEzKkF74atCGBr4k4U1ldLxym7r93fiRNkWfuWpUPq3paWsSBtpvTlvz4/xeBoERUa1VtKHwHT77IklHaOp7FBTPAYLxvXzgmwZZKevTUzLXGBlGvXg90BkX8clFefDyBggb31FNYQ6QFeap7TIQcsqjzDpO+q6stUoShfKQkV2VkYGS2qv0FU8H76q6RETllC1mZaOaLfSNFjKhiDRKiHhlHlKITKXZPkvYrfkLxYL0o9oleR2CYhoZO2WDE1XAzdEh7LgBxm0FloVkufZV4LJ0QmBkFCiozwot1tZDCAg6dBsYzv6iIpBpicqHS2hagDUVLUycv1plVoliNvbBC+uDgo568Y0TIRbD0t8LvxY+gj43y7CzErHj50N6/u1eKBGTlCngMITpxWtr9V8NYlfYHieDRuxMLNFedzIxOXyLO2Hh+9u4RUZ/muw+8O/fCmYrXrUn7C0Mw4hto4kMyX8Y4aRCBMRvg0n8fRVqYpTLC/9AjPJXUBqlxtcnYbJ4lLt6DU4/LC2mKb0Jk477TGipzjPeRm63+dnsI5RrdvRG8ATgzxJYjDnpiFRsUHxixI5hR/X4ydKT1249gzYnxdOd7ypyRWFXhjmJP++zDFKiU4lMBqmPYbIL/kQvNKAJr3s9P7R9GxoF5FtLdpT+pF8Y1lX9b/BEroEA3VR6NnOUnVdabTInLzKLYl0W6Dun463o0meGZO44mF3ru4gpdX0WIFrw04gH9Eq41QYZZj55TOjwrra9dhsg7327KdxP35jNDr/PypWJrAJQHfPIRl4UfD0/RbNqrxVluBodSfxLY+/4bAbKl3Mz7C9m+eqWDImyIYSlZzdg3HkiH+1hwue5qt1Zt9Uvhf3dULqXDzJ4UhBeFs5A1tNhsfO5HoEyjfXczvSBXpjgNYPJxHn4f7IGRcv+2xlfCKV6gIn5j5tPaYROe/p0r6EtDRzHSQ3+deEnCNo/w4rYxtYjJybGicJXrjtD3e+RAH9m6OYGNOs+TfDkwe+xKUFJVd+NwuNZtbBzYZrKKoxB3L+Ov3Jip4LsvzAbKG/W55Sb/vLdfh0Pme7Do5YK8eREEdoRVUjB4eSLD9Zxri9GhWXae92ei3rRb2YwH44X556y+FbWVGsjenLk1MlO9o5C/BpchoaS+cJ7y1kmNFWxFevwoRTjg+GcwwQi1CwOecGTZObKGiP4qwmR2/FtdzHf21m/0pgsA19a2wejLA0jxlq0ZjkDEEF9adY5ZxGOEPvNB5ymD+P+7Vp1GSAHrOsA1Ai5LdDApey79y9cATIaHM0p30GmYJfKKMQwo0WpIotxntGZEeqWwY26MtJSorqxk4zFEz4nrk+kV6UXCblYD9u8tWwO3ZyoFdo/m9KBcJghvC5K2VlZiJghJVCq4QOlDd2WGxRYdG1QoJ+rWbTSEytI5vbN+b21kWw4l5Vc/oUZqjK5U1ZYY9AMt5kaDT609E7CxpDLA65FZI7cYxD9X8wKrkOGS/Ze+xY7IrzyCskuV/3yobKilvSTQJLQNtFBE+gquxVayyGgfFhnRTKZO3ReclKHTEIWc+QIYjOba4LQGIZmseId9UgyZhU3u3HsQW+GMMPg/EOVjrU6CzFAZ79isZzC2B0KHRAsWk0B8fzCDVdwwujZ1ij+X3veJ+f6pNzxf+RAS2f9nGu7LhnACWdu0Ep64sDscPxgpT/UUBYrfC1Pz2BxHuJfeZ+whu6pXB3Ra2PaxwhwcYUi/8yL+f2Kwss3L/PJ19Wt1UBp0ydL5HdC1mTnGC48RM/kUQ3qsBhlWrwDAxPCJoPSKbLjNJCjz22HJTwsLNJcMVjtDZxZs20P3pRGLUzcVu95plDRbIruHZYM9iTamA2W7/KLH8BKRRX5HEBDDODtXppF57lwN6VrcyUoE1oVf+Jh79lLS7VBor555K7MVa8sRq9SaGbiYuEjbYXc1NGveBWTQegK9i+T+xdNCr5PQJuVFSwrwiTS9ehZQzTp2pvWqidjiO+XjoQJUAYvOu9oenPrlK3Q9axS+pf0GdqF+ZIVTrFEE8e5vkTD5vqg5f63lexFttM3Dm8VT4Hi/38RZzneq0uomJkaCMlCoTuHVgiiADxwJzoiFJ6ymDvarWgLzGD4mQg0Ea7W5s8vdZjb1r04vQbUGd5V2LtjFGQEjvbTDQvDkuBKIdIClHQEyciC4BVQ02POgfsPxWMTcBLwg05oXpEW1DiobGJsiaF3dGSyWMTrvDoxg1blEndZFnyU1OnziHsU9YlfTPVfMEhAWPkTzZdIvaoc0VhmbmvhYsLS8qLyuS5Obe9oFTNJRkBD7Pq3+Go2aMiTfrBlhDacQteKgOFdMghuHzm3vV0PqOLfJMDG57tC6CCE4O2wy8c408wnvXgnDOhLy9vw4YZcYY//ZemOrqVITf5X8jBEzeg8VBkZM65WKXo9V13yUgx+IQzFXRMIHTJwpeyJMgjbErPl2bcMsOO60cYJuAl9YwZWQurbgG9tPBWgpUFCM34Szs5ldwFKv0G5zZdVMazUTpTOYBQXudXAfVhBkCcw1Nkuc/aRu2df4rgdXVySKI09vv7JldHwmSe+3cNhxmFh4SJZprueio2FTeInxyOQGOmg6JdC3w7/yZYjBiOmBDGGetvBYku5rd2SFRMmJ1KYId/UZx8+ejTfy5U1ABGKyfGV08ehNmTJ61xAJrAv205yacU1VeZM7eTtVbn+91TsQMCD9ZHqtBFCfMRz7gtj6fDlEjZxEwnfptzIW1kzD3ceT+vKsrYQQ5p+vArnoq3+jiIQBEf1BRbwZqUnL76Nq3IucCYkmk+0JlrxvhVEA63zpMVEdeXcVXMQlFl1Z7zxsEggKawArT0VNmkxnpWVC9/6YRRXj484eIY5rZeOq0fy4ee7YnX97fzppTWl8Ra+popES10+8yt3lnlSQr2GdiXHUbxwOJyFp8DJsq57UboGFTtTsnP+k8O6XyFeTvqkrwccQItnGWlvXO3iookTAi6gB7ZRac0oP9Ehp6MdekNOhH3pZsKNPgR6orn6T61iRbWA9k0z3Z0Lq8W7rN8XD3X/IW1IYmqUidhLYVgZyuXvZ+VMZf5O7dtxOS48KoZJP6t9un4Yuusa+wUBMOSvXliWHpvyq7Xz88D4TMq5w9KIdC9TWUfTSdnmW7U3x/sNvSSEno/m7wPNPF/WfIuWg3vslpjFiWreik1jOjvhKjKaWYDBkyxqKiDCILOeO9kJmw8pB+KsfzYXF5qIyJHRDR8LorRJM0L4A1knWEN2CBPnb57QMiHg5fR9it1CmuzUyn1BC3wonUghgNgNbB/JQNUgrZ5Zx3/YJbcO/XezOeqNnb1GKzbD05xiCjrSNb1+hTA4DAY7kouCZUCZJyaUkSAhKFQuIizjKN7+04DQ9SbfQLdACTIY6yFDDWsr14bQSrJt7YZML+EM3yvCuuEA96pI74QJwfS7DmPrnFchp/oGmQYfuzhpL150vH1q/qhDLsWh/43o/CR+y50OPpEpimBW3elaTEAanMNRyLzkH0nJc0LJBrnxtzM/KkZnNTE2Q/vCFfAlMTNI2VsQhJN98cfiEdOcxtN854OiLMGIajQgIDqSfqtVr5ThVEjmPLnX1uxE6zWNV93njReiYuWkAHw8E8UQgWKxsh65zTeTKPHq+a24FNNQ5vneup8Q5cdQdwXeLSkadpxuUjyY0AtP2KPzRAuszh1kZ9sAyj7xs/uS2GLU3k8+N2Bfy1qxyRYrZwFYIWrxkOl9N50oqt7cBmG7V77+uKkRdsH9PNXGDbON8wAhQHSO/TAWxstdyQtYptEoVAr5mZDrVOIO4MoJEBtG1fqQj1xDknx9PFDTll1HXca+FGKGcsJ4wxyx/RJm/BE4ihGBCiy3YRHOjoAzDEgA2EbmLc0E1YFhFF94Wj4shLXPRlWx8Wl+k0k6ohXndUJH6avcOMAYZbC1Hknnp0YMhQTApq8GIMm76dEn3pd0/ADzpkc7E91LdWlTwjOKNK11cJbYTGZpRlUZkDbDGJj7Ku9hIPtEUE7pbAcnGOTSaFU2wvCtkx8i2Dc74vZlT7b4x56+mpjCCYtnn2692a+t9RNHj8L6ON08j45wWxqEbfTe2dYyguNLnMLHgFkpEXTXoyJN/QQ9UVEyGMFVl1gJcOp86OFannh59MfjMLpePYhRhUGUSRs609lGW3RjET8VKBTn0I6dOMzbQU8UzkfovU0uMJGYereMjL1lPJO9qcNcACVJpjlO4TM7lXo7S/UdEQ8vXWpTRWml5+yPHmzkCBdze4m8f0g/IeszfqHcFNvim/4vWAZ3RVt+fedIN+qvhPYZuNbBAS1OAE7pwu3R5pPyC5ij3j8zKK578zjKCgd4OjjPPW0UM+eulV1Ki4Z40cYBgzoIV1lw6kRGI1oKqh/yoWnd64tvSESFO3OxDF2j0Wdtqg4Y0x1j6p9ePZ10bLD5DU2bPjVObAiOaTIEh2GIuRScpiAjK2lN5LiDFqVYsUrtkayUcbCjI8En4YzQy9nBnMKt32ihic3/O/irA8dTxh5zBh/FbsojpMxeBJSC87ECcehGVaOQ6nZncRf7ef+F7DS3L+vIKrDE//pTuScbAXHwRWP1YPejBt1JwThUaBCYjgF83wPssRfIr+zbcNmDXeMmk3h1bTFRrkrh/2G2ucfE/a9WinbjwiCRPI1736KE/Z9vx9FuPYBShopYWMH/G3UiNToiTq+tWmC1srfja59+DMSNbLEouChGioaz1pQk/M8karoNvBdo/SsoCdK5t3Nwa9yD6TmGp3EyzVpl5sS4u465A+e4oIxqK0sjoCR5mvGdJtcFNkMvXdIMym/sLyEk5fSD/UdniJDYnswBInF/xvkYw+/9ZZj9S6hcqM/aRp8cZzsfIbIsqagOVWcR2Op/LhRMDi60nynV1zFlWoskkrBsVJXgyhXmiM9Vx+AJNV9+w8NO8HHlrsUeAh6BgwuDbzJVoxEndCWhvO2jPCuLNZ89YuAPF2SHhI1nyhdd6OmkC9PMr1N3Rb7w6+OWeXhcpXL7xOhbFI5ZCswCz+RA3ckzj1549yFT0vx38anGCKyG8iWs0y4CxRFjTPm1HfGig/3IONZI8TVUKGCB2svfaHoTZjsnMf/87q6MSJ8OWXiT9IGhs93w0jFTNpYfExHnp3pON9XN70pbo3RhxhSo5sNeHjruBqiq72ouGHtRco4rehPjziDhW724paU4MUk0ThUqmedtm27wfa1ihR8avgrBJf7YeFKY3AjQMlE1XF8lMNzR1cb1XE6AXnvnKa/227UA4Ru5vUFQSfvjF6tzeqy2/Fnolhe7IigaxnuTFNkD6ayS24n+457aJeSTvhs5IEXX3SNGtu3yrnHo0DxiiT98zIce4upJxWWUgjb7JNbJEinWfOZMNpLm1yPjkYXDnk2YYeNbvaqwr3eh17rtCN9BoF13xZmyJGhR3GO5Dud7PsH/TMOdj20zo7EYbk72BBwao/wsvpwi9PnM6OoNaZaZ+Xploqnz+2VY2gcjr+1wtbcAMlNEkaqmlndc9Wd2VQIxWUc25TqDyJPycI0Oz3rdEXQDackvkSZwZskc/65WTJI1r2vmi+unS0dp8AZZaOcTqV6P/6vkbaPKhPg54RxSHhiJ2GLuUYmCGnsxbwjhDBWGPpHhjQBcUvNCHaRtePTbn9YJVCkqpHEQVEZmz+UhSY3WDPx94n1zEruTyH3BMqspUx9SUcmKs2jRsa3n1RVYOtlXdgXK2hcKD5luBDC4WHgTP60MWCbNS342iFRFsWKQK/ZKZtS+kjd4lK3PCul4axyfT7sCw3t+2Q+mQmuJthEBYcbNyP3Pxee0qs9S+qYY50k9MqVnCk9ZTceFSrtgr1SP7e5WfNKU8kIaihgo9pKt46bOYpeibYzor/iAPal95vPNzCBpZEr6C8oCj5YmuGIkUfPCZEL5hfhwGiQg+DQRQpgO4LQ1sgpUu2ArY5tZ3moMI56qVkl/1ssoCycAuIaYCEAUdbS4amDr6iyGJghwfwiaB49qr7HX04jSIFabgQ0kJ7oiQ0+LYIGojZhMvbbvO1jSlzDN/Qnd+JAHOjI3Yo4ei3VBwCDEtsCc/P/6geMSSiWsCJilJcDgc9dTFXmJzRkda0Px8P2zZOxYDlrKy9Eh/7vs9m1TNJfHrGrhHutXh/qOGMtUoutK2VcI/fsBz6QvRfZWpZ5aJutV7JjElb8u/duMNw+yIrkex6uhW1Qtbh093fSW93Ir/egYg9MfPpXarQywxyrMvikII197srFtcYPFhYO73bIoVuTNmDqEqiuCZi54z5Ccko7reJL+ousgMM/ntgXOkUy9j3+kJWE4GrwBpiSdjY52lpKS8569Zcjk8M0iVlpXxRSyJNoIn3QaL94GnpHKaA3BHGVh/cjGdxYtCjcVaUCNOh8h8AhCCGE0Eb4XFgM/2dow3adezlSkLLzl+tvVHliceOVPFWI5veY2TSLmqjX9HEtrzPdjy8HYv4wSrqF/Ik94Za6T5pw2c9tJdaOm2J4F0BVOiqBLIRdQTRHrBc9sIo6u7JBq0OFQbZJEVYheWfKacG94jei4zF49zVj4ZwczFnaaWlkpe/865sNMx1GB+4hr2XFg7G5pK3NlV0CW0QqpNEs2GBDsIO75afKeukP1Zh/uE2FyWKxl8FolHxnbuKLSdf9KLGZTphNF4baZce99kQuLWNJuBZcKiZI4ovzeJoSvLDBvQqlqKPDH3YLNIuIeFO0GkuWXlrJfMiHm9mjsaFBhGBBw4I1gbxp6Tn2HuTI7sVClGcg7+rVOCzEZG3zdIzdMecKXjfM5hbZ8XJQBYMjy208JFvVj+iKuxgGYZM6SD5YUeV8nXgYfKHXY4Gs70qtqEo7S0aIzAoeQKDkCJiG62KxDAKRyyEyInJ+S+q6L/zA2fOOBTKUsHJ5mlnhFGyNoATyrV9LuvzTav8t0tcm9cpdxzn2JIySQFcoD52K5rZnoUwvXzi8728mgd6781sii9mK8Kqw1Ye7sa1KBpX/Q3/XdqprWfr+zkIZgZV6NNo/pUrvAH9UO+md0GTAMNGC2Mk1RQf/BcOLQQA5O5H0rzZ7qsDwQG2EUwNKwcbr7xb2bhET9zwVChPHZYWdLktI0drEWvHE0W1mXb45iaNIRa3etcXwBCP1J6yDaYdOgLaiP9FhKkYlKwyo4b9UTLcZcPF6qtTjdGMwfHOz38aRDmBLGgwSpTbIkF2uW++ugg41wQTGdhNX19vhhE9j0hIuTBA+GX6SxpC+9xlyKexb7XYvu+yymU0eQlL21uAOZCl25ynCZo+JOqHghbY845V8ZNt8a8fkVlk0NgzNLO+LiMH7Tahcy1nrEMjbrSiThCDlyjt3z1DBjzKV+5kYTKqeiuftPBiEuu5J5G65XgMsAFwmMUV6JTLW45uMJF4CJHbsIhnW2lUCA/4psCn5FkGU4S1lUrt0tR9Ye7EFMJJG1ZgwLCstUZYzQTx3GxrjC08LWf6Yke9cV1f+w1UXcF5szdorGjWhI14EsCO3W1E4+7mZre8xdzmfyuBV2J3nt3XW4ul5txwZBlcaCPeaaZTXR0u5Z3xhgmJ5MDZmeYxOoPT2VqfzIEiTc5HrNovZ7/m8DZVnP7ZDopegAKacVhHcDSv0qPJdDwvy6OWyhfbRM14oN+TCtAcPi3TBzBdPuFg3KlVJ4D2PJN6YwV00aSBJxxXNAY7OOyUhaqf4MrXgUP5t5irh9RCjk6bb50uPeXAIj7YA4t+p37iPDAJ1uNfR+aD70sfOUN29PN91pCVIAc+C9m/EcdcolsvfTiEPwKfESkoHBa/DJWK7LvmauC14bP50TU3xpR7dkjis7ca86/o+qhbR+OzX5ivM73Lute/cxaK3TwJkdXcxsVZqCCOsXpDiFg7hEbCMqnJVtHyWAi/Vwz8APo041MahOCjYSL+EwJsvsFVdUe/tYXT/f8K2tA4521YEMhiXIvAD8qDR+AOYDJNJl6y0ldgqmVripO4IRFFprNgcfDHBStBJnXCmiEWnj/Z3zuGRiTGeXglIHMR2ZgWgnfd4sdu6ggcbDgAHTXdEYwIBgtv8HxCw+y1lE65f0RuhOq0ELX0hOJOY/nWRhCQBPfIH08Hf9FNDOvaHqQWncStswnjdEpIpSiYOtNvQ0kp4F8a9KipQM5hmNZ4asEoGja/oo9FbPJodvRcDOJnbbQ3DOekyKL327i5xIE/3jM+aDxVp+zP7AZmrQToEXXCXM65WBz+8z8x6yh5l9h8mjB8vcwchJBzSkuwX/G0kOG5S7yet1j2B3waG7ekRd4F0KyMoeC+ys2mYxNPwqLHFuRH+clcDmtqxrWLksCurUn+YvGswp+4o6ntKE0u3HgpTmKRw1q9nuYShDSQSAHuNId73TyIYsJNNVRnlrlhfdBWIC9bClwbGx6mikrJh2yzjSvn0yVdyZdIJEaLDseBCvaRE51pglbdt4UbYGiyL2eBE2XT8Cz4jNDQVZBy8+RVJPS4ow9dUVFGoR11FbTN1JExT0WA8fbNpTSs6z+6DEkYg+0BHXjVUy9Duh7q4UGIwWTr2f0CKHifM9bwRE7tN9wrTM/3qg3/gY5aZOyvQ7lkD4RBfBdnOEaIUcGKK+SDR0AQEyyZaRZHB7tTMFIGNsBcHl5n1JBBJoUTXBZi1y1nNXLvfhDWl5ma0pyVUfBZDim/WFk1IA/Pz57FQrW7DFCFsYaxc3vSYiLLayIL9rtYkSe/jcizsajwToXKSUeWRh8N9/2YoHV0LVeFq5uFobouHZvBtsNsZqqVQnsylpUJuITTbfMjEimCDiJo01LvXs85cZ65wLFClwh6EteSL947TFMHK74y5O3M65wqdP5B7ll85p8msRqDplqej7QnQdPrgHFT/T74aX2sSIAHABJcbublgTVSvUJvmHrzdLFv8osLgvABXIqD8xpD1QXIfPeRhNtig5BRgFz1lYVpW/Bx/B4KqS2dvkI8V9S/WXXqGsZNEK5mxrTcQKN3JNoScQCcxhJqEz9sjRsv98n4OO1ky1FL2dN4RflEGZGV61qdlHyyvPYqUwqxjmm15k2wVShdmonUrbHD4kI/WEngFvEHOv/PceVIpTN2X1GOnAHVQ3hcVcY2pj8/0OKITg26r47AQ9QPxJMjPCRmzv30UqcsA/5KrTKPvUHb+v9YWgU8T3L/hClKY5CDN02IOcbD/Ug/bd0RWfJVEKCNBn5fVovxF1MSwAryLx+k2AHWdRg9WZm+fGU8KzLU0SMysoqWP5ntfwbObv3frjr4GiOKHfDca78rOrUo4T/0+OsJf94eoBasAjcIxpQufbANoeFxd+1wHceM+qUzy+SQSJ4FieYU8hpkul/VBNYDE9Lw5XlKUCsilbrMLUwg2vBAFsQQmuDq+4AbXYkHNlKeTFN+Cj7t+t+uXw+hMN8NnrCJ/+6jwUGN/sjlCJYvsr8lxxyKJodFxvv5djmEXcFx42bbe8xYEnBRZx51icR8Bx28NUn6M3hrjJQbAg4fg7seKlVcjqEO008V5Zy0n912NJVPEwwQ/ztKZOs0HfXupfKCsbeelR11trgXvRX8H1ihog02XmDzs/kgZbrWvmftz0mnSXym3OKpZH7wJXhjsvVDs8f0wgyhENXcAOnP06oqLXS9wwxRCwV/BR5+UrmESxAYfMr4BL+MQgR4WeAtVf/BW+T8Etfng9IoPzTYDWwfNOJfxCdjcrEmKPDH3+luprAaW5MsE3nkiXqykff9KpMsOmzWuxex/7c2ws3GsfhkEnwGhozbI6EX8hdsnMzVrGXJT7wu4iioSAttV70ahZi3J3LMW77zC4XAt/f6ABHayfWJ627mGwfurxZSqxmTk9b/0vfweDuQ4y6MGGJQpMTqFQaKr/2lQztWY0tvNsx388fadPC9Y5Az1h6hMD74dfmfnnyCT9WnJPKb9a9+XlhEOkRlpXQbjJ2IJUQ7qFQjUQ2bEb2jZ17IdcJMT3dTplnh2+Y9AzVf1rb6niieORMz3uIYT20BJ14/EbQya0PCmZFYQ+DmfuXOWdwk2+iVYYfXu1Z7lYCFkHDRpjiYDnybEPi1uZJLdsa7RTpQBvmn1I/sM7QKAzxfQV/f3JiHNCb91Y8Dpq1eXiZn440OYYmV38DcNo8sKPiBDA972b4Cf8cT8uVac5kIY7dRWsE7B2ttPkEfdOo/CweipMcVmYPk29LYGGn67DRJ7jm1IK8tNrPZPXKkgbR/qCGhzJnXcS0Dkn6MFuXUOQDHNeDaPuGJl7Td3XKiaEDpIdxUQwRV/r4m0Nk+Z0oEJAt7Bgc5LK9G1FmwfGqvRG3rQrB304JlnKNq2O/YfiTWnboIKCrMnUeiamsC+WN/t/Up9WB+VYbWOHIjwSBZ3PvlDSIKWwpthol4YnSQ/JTz3q20iyswOiEaVL12SJf4UfqAlP5dI7MNE5bRPtrRmy0MBmW2YeYQkfqPvx7mHRRVNBZwRW4MDb1pfwbJjaLuMl9HXEh1nc3VKnxWQ9Ns5WBC7/MhkKEjv+sy5CXI+qNKHanKVj1KweH9Rx4WLGOdjpo8IWAG9xHpDbYB8OeMp5r7gzoGySRm1+bvrnuz8FlHVOdMiYIQpSPOVhFwST5ZQDitPROuH8Kja52aFyWtoEx2XgA1+JOIMYkvluYg4mecv/OHdzpg1QPY66wtY6+PDINVoKS4gTQMF8/9WaWLdnqIklJOztybqqVGjITPBGjBtWQPbR49qf3+Ixgk7dn33/UBuOrfNVgMLS3JKPLRGoQFM5rFiMSoXNdjhKM/9FRlPry4zNeM741guDBOGAW71KGkvfz2s6uqmEZyD6WlxjQNYYu2PpQdBtgqIG+ttXvSX2sq+RXMRPe59qZq5XdpWrc1x7Th66Byq1b7EzVEl3E2YbAbum8Hzgqo6ZBywd46spep+4Uj+fawdrxchoH2+T+DG8wQgu8YKThx26Ivhe8XpBJ/F1jiwpFPUC7tfefgd+Qm8ZKZ3waD+IaDm+8pJ5/+V3cYbrSYNSUWrWzPbh9V/Pe+NWd1FByEs4LRrgip0I0Zi0mn7V5szBw+shVMepE/JICC9TasllIN+N4OFvUVxRs+fCaYWjk8L+0DMYHf4F4yV8EUtEgjZ6Z7GuCwQRDouRuzCErb2rOejffNIsGUlqWSffCF1i44sKsRlD/gfQ3JdoGqZGECdWBpsd/CNr4JIbEW6SwYxURA+p4w+0+abGDdplPAbL5Ammjfc1Vki8xyhxXJPPsM0INtKSuIPVkRsKktSHiGbp0KUUPh7ouVwBZx+Hbxp6N6mzkOQK8joNHPXGFza9mQv/Ks9m/PddClPwfADGydk/KYMfKyJkIuGyLalcDuMhNd9g6s12zVfd9HPBVN1d2KBDWTVs94+EAhMq+nrXHr+dXiJ+UJbRy/TNoVKKqlD/1Zyl955Zi0ir2FfW/UzpOMUbbINmumC5aiUcRGnQv/PfFhhApSHXpKNifdj1qN6ic5PfAwCwBPI40xGknUD5r/J92YCI4C3hrRTS5bcIBZAK771GV4FM03FQ0yKRMBdfShEwgWTdFUT2JRUw/X1Nawpcilliz74n0qmCiW/gtbqmLbf21DDVIAlAw3fbYGq74Lz9uumWFdhLnw4wp4YMFfXtS9+L0jQpkcYn0VFpLnZY8sjmz0P+pOjHwCgksmOdfd81plUMGDJWgWKb+VjN0/nN1D/SSErH5+ih5g/mxU0oyysJWcL8gTK2hYgq6+DyX+H6sId7Vkyu77qz0FEcaNOME4WIjIZKtsnaZacFtKub703bTi8ZGLzgi2Zq+h6xmlM1t4QbWU/Xn28yMDuDJuLbmlm4m2Zw7LGZJ2K8+e8HKJKIqJU1NNKSW0HgAlkJIBUw0jHM4HjShZzKq+x6rHsn+b9qMCMNHBLdqQyzVadDeMlujmurxHcmoIB0y8uNaTHgtOcuDz5DiLWjHrXGBGXJOWy0l0HXeTyUny0QgWYQeeaaHeCfSj/aq/1PE2smHNX5WSSsrCI4NpgE0Oikgs0l1YFCTCkZgvliNa7LDrBXb+OmxvOx6RCyAGFpDExAlZud50UIwHGLf8M399dJvDuu3PI1RKCE6fJvT6e39UBvQvZcf13rLgxMx/0ullpiPhila7rubwqUBHy3KSkMPbDRmm89Ehlmq6ZmKtQKckLLpSYi/6RSpUSwu6M4VHg11DcJiYMoLoZbRTsJ+vxa4EPCLJb6ACmEOWvHsDijFe7tYZsNRZY0GYFFYbuov0BnGH7lWZzuHAzOSLL+uZYKsk86pu4gloFe6qh9WmmwNN+XyCOpRBY5WuS+VAn9xpLvCQoLhyqgGl9oAO5OAgyduYR4o0Fa+82GuDk72ZpSEotm35CQqA68R5iOCGAZlo5DT0V1xCQBpDe0EDBeZ43vd8B0APQApBs2S/F12s/dGH2FCMWGv8UOiAAmPaHyqqn/8SqKe6NxzbZ1p/b98NOD2Sscu38KCeHbdaPs32UN0kQ3b6LldhM77b2qc6fAk+IWc4GlBxIWSXK0cB9UqjXyUO3c9cDyUJciUbUvhpnq8Pd146U4A2wIXWvr6TiCZyCD+ek/d+aNffJTE06IOKnJWVg49/iHtWoXsO2ab5UNCwFo+Lr/lkkk9O6hsVUZfrvpqxEO7jeVwUDmPCo5s4HidUu11sAamTUQvyqD6G4Fh6BPO2Kt2Qw28fp2NZcR47C0eLLmiHntPXoHiIXl10XIm+SR3rxT7GefZsDHNoMiUjKGqRObb3VD08zwUfAQh5PfwI54KgCo3dIHF8hzZFVBJ8QAHCYpwcy6OTz7gq82U5JCOxFv/EFGe7zMMT/oU9mICJgif/L4rRcNVQk1AnYU9iW3XzC8mFS/0KfhjSB6XrTqi7wt9Du4i45u8Fft6804m37qvZiw4nRD1wF4vOD3h4nShnWNnxEyfIcaWHoQoYlbiu2XWin+U6/eHADAXAsSDSSEwfmKhBo6GB43zJ1FwGOAIJTa1/9a934NCqqufM0wH59tGgUAnyEE113cN+dqtLpRg/bTyawXNGqGdRthG+Hs4HbkXFn+OSsv0nRa2j6TnqHsiQsuzNUDGTlMyZC6sQBN95JpIL4f6XTMx6KkORyxUXFmv8rhlAsMlBaSl3UbwW0r0JRAstMlT0G4aPN5Bsifk0n1wVqw+3ltAtD6NfAD9nGSjdURO0bTeeRBNfjiQMyIqDCnZ25ymqHI8AvGXmwlS6DXjLBYcXHiYORizgR39v5ial/1P6Ljv3vaYm0CdJYNK4nZI2teO15SSlubjfdPm0ebDj6QEGo9iT19A7LXRFeX5AUWC91WA7iRakAFB6iHQNkvGCr+lWiqJ0ZQOtXNweezbzbh+rNAV8+QOa24TOv/7v0UM3Upfuw+ebAepyYKhl2NJYj17sGSDZDju5iRiwPJ2UIQo3yi2Zc96T+jfEbJMPzYWuuuraPEe26BXeWOQ8bhwLBNph0L8XlexQ+tQblEvSMum75q5TQ5mI9/wPQe/6BD/Aug0jtebJJSDY3+1BtK75ci0ftGtDHAkvBC4c8/oauNAs2geMJwBXOoaWJOeQgXhRB4HHg0+paxZar+MK65In88NfMx/sCsoCxk+XT/NLVrGNeqP960/I5JzeW6TmilGcIOqLh7bgM7+Uowjd1oK1VEWbGFcXRSWSvgPRHc5F3Bl1ekctIhV5pLRmowVuu612vhdP45Sugw8VrYiJ/4795SFRvJkioOzIUStoX1uUIr3/a/EYUHWs9Er+x6BzSDMVzujvVKlrMyVEi1UJdDC1T5Y7E9ZoPF5CnnQwGqrvTjGR6rcWoOmVvxC373pJIhMXohLwbPiQe154Ie7CwqrezvFDuHieO74lJYWY7Oqm0naCuh19ktcBDACtEYOcYPeWhpQKnb+zt67bLasqrx8Atlsf/lYTm43qE6oqq1vzntONq9c96+QRanzGYp8QLTduxjbA64Hu3nSIy5ypWNCebYhK2afYgNywkHmjMk14xjoYzcmUgyacJ6JkQDR8h50PZjEZUKzEtVuPk1mz6GQND56tK326KsuKNJXXZ5xPtMGdNp35pIsSt29VU4fYcbarTqrhsirXbC6J8/nvkIGF4ij/bpEPDf1S+SWD8DL4tHRREPXZl9ekPrgMHjzcJGyn1SAgtEZkzPCRsmgXHhfKsps4y+aeu9KnkE7FiYlCaxoDxGD4O6i6eXU4Z27zvH0+JM+OgPd2cYAT9lCaZCSezBLAXZaV12q7wWx4Doc7VEz/ToeJoscKQE/0n+VqO7lRaglVbOakULnuTMPvQKFwHmn4yv9eqYoARvJ8j5sG7nX8xrc+MidCevt4ZliRPUmJ4+dq3wh+59CtvilrswO2dDc6BDv5Sf59GGYoi6RxK+L4Qh/SxmuMWNzL4mCzISJDzA4Azep4cm0sfHnAZDEg+90Uvky9Mi/p7OqOjeah5zL3g8Lb9H8zhPIgkxQswtPX9crJ2eVe8rSC7jZSfq1S9sOd053+Ep2c7gcFMKpyo5QGEvvRypfrMTsxbTeDrTOpKXPa3ihuMprcIPwieec2kARZMYRExIe+f9+0Xc5r6Ww720VbDXKE4W5TaaUlFpBdSDRT+zkF5c1DcT+0mHZaC6sO5rsEbfbG7VOPE6JiQZEvoOPjdW3nQfjVeJmhFXRrOGs2g+0urMQNn51NHoIyrJAQQxSI0wT6sc79DYYv42JPTzXxCew6K/sfuyZEZT812TTimpOHACuvAinYt+QPqJTO+C/uQ4ONewQRnsbibGd/hEHzjwtsHYYL5zgtFfO2Q5n7MYr9ff5Mzauhxm+SXcvyRLdncGX8AnER9dT3+cd/6RS9aEeAq3Yq+oZO4M95o7TScASl93kFuXGzsEykXC3qvt4W5kw/C3xEhweklRvLem2J3Hs5XxHOwyfaMFkDavsPP7fTO04v566hnanMJu0qjZ7Z7CavehFF90WOrJ+J/sarM5qMgwAVkqKmGbUUgOX6cXj/ZoLsZQrHKGj0xjYGYwb9qKwsb24MP+V/R6NIiTI/9XJ5sE/0202ZTw1S9qZE2hSo43ZwxVlbUz2xqap79LU+/EjKEw5a8Z0XGFVzq1neiV/AxM8Oqmx1+FdwbjOaK1tM6VkCrGnqU2E8xs2A40HlKSSMU8+norp9gbQUsU5jxZwaQmAK2sn2lsONrVPLCMYwfrCnXsZ4Yu5N9JP0wny0531tdNSRBQEScws/8hcA5avNZ3vqjvxNk2eFf7IcZ2IwXjs1olHhHrpnho7tHieOMaH03tbmHD9amLHIvlMY0LPIEhhPTB+I80wiiyohW5zfZYLFz19HI5IZu5V3rHWu3DIqMhB+P+VU4pIS7VjyAWCcD6IGDqUfOjMO+dSTh8IjE+KzM4luDlUo0cP9vw3gfEX/O9KAtNeqi4LD0Mpoqnzw3QPa/cgEUPRwIeUsMKrpHPQVPB3dha5yDDuhUjg8Zm4CQBQnFsigRgbduaZtyjUvVjM9sxrgSNH4ApSO8LcG1fdyi7Z4C2xv+HL/DcSgR9Qs4JhoDd7d0lGXGl0g7PM6QK8E6g3iMdkyXt2PFsohzXltubcXBJQ9p4GhJnRi6VV5pfBI/XTHn0HaMnKPr1Tn0tZPhgl5n4gIsNH1Htk76Is9pWxHzdwewAtOWEBOIRIsh9rDYTI53zxqLc2jsLZB4qiioypReWTWo0O6Rhcwe8Ig5J+2cr169AUcICM2c/+5kCTV4x3ClGCIFuadi177j2uK7ENee1a/IsEGkZFXC9sZe/micruZYqaJn2mhyzBIyoPs1w/EWSdz/FEfvjXpYJR4/2QcSzrOzXn5nEZ1OsuLSgr/pELopkZMQssDOikbOERe4DKeNlHLsDqyYuUQfjRsAJpzRqBcmz0AQTDw3opFWsZPD/bZ4SHZVrz5HUgMoUMT3/dY2zA7NI0EJLDgLp5cOGWy7mYYvmc50YfunF4WqZgev8dWSis6VA0Y74sS/+EJK4Iwd43wqakJQgt2pKT2IUMkfSKdp5sEKTIif2WK9SIwbmAcpusX/NbrUV0uFzeP2uZsyDy+FNaFsQxnSu3upgsOcnQk3r+k9eFilY8urDhFjcGr6zp8mpOAqJYEvZQ64Mw6jmoESLQ0XMK589MlgIg6Jwxn2Q4E/3VbhOXB5DORRy7k3QnEqF0YCGTvlgMEkWtdLSMOwIF/DKm9CYUIxZFG263AAQstPgxVrpE+86YOem3JF7ukhiwoBjsSdsweGaScHTLP+krOLgEMO6uK0wrK2JPXkx4LCwyMXh6ZrsJwvhO2CzYLp+iG5vgbwu3JzxZ/cA5QQQPxddySLcwkIsUtcvo43JcESVTzQ+cSHwXsupOASRaKyarftvf+jJovSvbZ4pehkUE0RgM6DwElPa6pyR/F6uVE2/mbzrzFTJV1bzno6MQ1p/Ae3Woz7bSlAqkOqQ7CRBppkAR5P9w5BVrVOf5SFfds4+LUsKW5Fs66YfFu55Xc5n3NfnVhUhh2yUQWX/AllG4KMNsI1nJmR5GERvhcNvHOmWz2+JtAq/RpIUmmi7Nw/tSq5sLL2ktDjx/zh5YYghBdHpg2G2XnQypouOMLEY4f6xtNZUURrJKwhuL96opi24Xm1mdAgttEzojR6aAjQOhSlejlXlZc2HwVqL7JgoNNM6dnFdx9vfcKqMT8utYRkx0GWBC/ON1Cc7pLkSAW2cEI1KiKFKMY8i4j12S2/ZavnYyRwd2tmGbqLuCk6txCbxD9BYaMEamTf7CXSYc5HrVBBt2kfCkTQeTP5DzRUU9dTmf2ojd7m8Zr4iD8cmCGTo2HoUtZfr58jxEhsPYeVutaeojTtEgZtZeMSUe8hfuLUN1wVhicTRFObvAQs69pakpdISfzq7sgvGmqpMPc2UlCo095MRPkt1x1srk9Odc99h/rkV0+6xfmK7UYprfx/a5zXQZJVT/whHse6u7Oc7ijbq8GCDnJzEes5rqpYP+UfoY9vsRuIyaIjyxLMKClGERxz8g6sI0X3MUkt4QdX0mJRNeHFLojpbBkd6Fdx1K37IEX+Fy0F+T/t296447xfpUfyo2GHfbq+ugCgSv72mtHVHmPtor80J36B5jRDGK24izyhzbkUuzUT13u6i/6Yp2wDLtzzQtO2JJ4UwttqVnGBh1o3VRGgBDUNIOxV7mdiTdVU3kR4axHRq4YlhPGGZZwfUb+eE6kB0+Iis7QutaZcKdlCk3p/m+rtzBOTnIEWz1VpKsU3Ghp3YsfBFVKBQkumLNsJ4xCVV1g/3Pbx5dB4JKOmuifL2ezwYPIuMzLNlB8dE+HinlsMH/AHnO57Or1133hZsH0Ce32d4jrc74LbdmnTCn90aSoy8YBP3EVDuO9i8Dfsc9oVTJmpEF/0WmB8cnEIvcNUPWvamDqCw8QMlkFSc4NX1MGHgNGs9RGUNlXxwEUHhIjsGxrOVq48A96lJjMSU7ces/w8Wp7XWXsyUivCZ5zghlC5gGaDAh086rrNTZ4ollLwSSQT8fJ8L9NK7o+eWAibaH5a0vXiO0CcTmliyUIl78ATzIdmal06LtTQL2pPMTs/IP7+ulh5nTrd5Gt4yy+06GM2Z6/BpVwBrYErLBChZbq01FclNXXWPI7Nd3e4xC84QMp4fgDPwpsNEL+WMNVvlpTwBJTo7UHHrEPFrWEs1ckLId7KE3s6OvWXUoh1iN7iP4GKg3dbdmwtiWxsQ5seohRsO2y/7h1X3SVmu1kaMQjIkAA0HkhstIGljfwzsB1x1WayOVNQktTCNKqdR6QU7trivBzNZMEuWlwp7NKvGPkum/iC0WIpb1WZDUTRJDtPAzOAInZWXtZ+57EiuadGwX6pnVz17JcFJUj1AGqaoM0HdjzMlycshjmHhQkUwPxIWcEBlMkR5zQ0ik+DddQiWVhcl176NyfAkmSfdAqfXaR6mYvRJzXYYnqoEB0dpqEG/lF8+GytEX5WAyaLPBBxeimpFtmil4g6zsJdtHt+zFl6SO3QCQ3g26qP+VjmAEholhLvds3IJZmLzx0/3fSG7yPbxF93KtTootO9eJ1FRudz7//M6YAdg9E62idzBs2g/Hb9fkVRxIU4Cp6IlSfD0D+lmGD/biAEJ+q/PdTxQ21udTBND8CV1fqI2NgUin1Eo4ixbmF5hW/GVsDt6a/kZtXwUNggzNeV13S9M/NHk8vIKEYZhU5nyaxEtNXUcJDNloNY1cn+YnfzzhN+jt8MAo2sM49ITtuRWkN0VkKFCJUsBxguYXmCFkTw1Be8qtS79RuBGCgRD8HeA5O0yGtEp+rlASHc2TypjxcQ26OB2V7Hk4BkfVnn9fWt2hiwTw1wNs+ENS5XYk24+Lrq0h+EEQXYly09xhsIJyfkTIucBNi9SgaCE8k44llj0FcngppaDEKpTJ1j8ax1U55QuXSAYf0aZGnWh9BolxXOZ54xBU3C2d1xJPY6EIFUAn0QpoKuMlm33lb3UjGbP1prjDwvtBV0dduijsd9vp0WDbKHsx6+cVo335VogSiWVXmnsC4ZITf803SthM8JW6tHx9IpmDQ5KLgYEbuYjFDfXE5yJIacYCH7/L5gkkTmBvwfdfBnL49/QIwdjHZFQuzmg7jjubrUiS6iv7ZZWMjRdKXTC7MbbLgipTwW+h1HOaKmpMLBOLwTR56GFK0qe82VH+tQBQCa6vOPDOs5tkJJtrPrct2ZCi0UZiO/2lJzHMmeMdm/Ub3g9hbU36FJsSudjs9tCxkf4svWGXPFW/jcBLsZ9SN2f4cI7gTVTu7d7SoqjuO21Kz7+kgqoLMgYeM4pOb9mjZgdW1HUg5qFF8Cw9BzG0MpJUguT3/62Q5daxAEdb4b3d0O9oTJQO8Q9u2pMDOTUQksf08tnrNR9wgrlisaKf1cX3F7hdg3w6nlIU7Mc4KhgSR3mSe4zB8b1216wyXuxcZAXDO6qzn0SSb6jCHK+JkcBVwJDun9WWydz66nMnSaHzU46xdJwyFBgm96VHMaO870hWztBx/5i8pqtMUOL3s7xZNCzEB/hXDsUgs/iZclKeOXTnR6BJt9QZwQchGiaJd2egGZQ+wqUA217TMMmtXFmPkZa5U8v9PM0tlz7Jh1M4HrlSlczhysqmPpFs8z05gBd6H/EFfjx9nMdBIBVULSHrFOyTzZRWdTuV/eB2GxhwKSoapF7a+OMe+VScQIBikUuwL5cVdOLrb4HIiR0p4mxKtLG95gelF4VAMHqdbKb4gvat3mV7C7VsfBHTg7RoUaidTVEG2RPq/SZ+7Dy4ePifYMcuzWpV5TjEH6b6MuKrLmNml5KEybCyoHU/M8RkUr0Ac91zet7g7e+8jhq7qngTuHOPdbVKItbroSg6Lzhaj4QoegpsDCsKkX4cnO+yuvOUsENa3gm52/7aPtpBb69Gt2YAp9iTjEgKogtAbTbyaEM+XC3CEvdXMhOUWjp8Ys8946PoSQlvlVx4AHjuKJds2KLz+5dMmnJr3zAdEflAxRS40pRhOmrLfcxxxo3bM/4S5XwolJK6OekMLZKJpVeOhXx6HQkRIFCTuNmk99dPVpIQcfMqJdRIg8YHjYxR4DbMJcHKf6TlT04dZgIDZzr66pcMI8DZvk4t7RKGR9bwMj5YS2OljIDINh4OxeZXt2r2zStEbtv24QMU2FUgrVyYnAJeVXMOD1iXbVdiACJU1O6XZDM7gSyJ75a6ZVtSNP9TLiKTAKN0QxEXaMEqH0o3A2+F179VUGhICG9M3Al+Iexi/8oNOaQLA0LOdK0YFh9PI9SQOO9/5UQUxW+oq+cwVW5xK6PJwwyoRr9DAj7hiFyJZYGQQcxMPWOPRuAabNt5DWYsEA4KWsNGBgcgaJnOG77q4pyaIdHGMNNwhBb0GwWo3Q7Ibi5yo9lvZwwHSCCgtgwtLcAsfVCNyE8SCKYiEv7CR9xO3hTa0EoYQwg7Ot1eSMzSGFKzT2GJiJeQPheKe88EqgQtTTFO49nWxF2jONuJ+HlnwiSpm93WIsxFAlI8Yx8brRXiZSqB/pdcv6OefDJka6Fe1+GJOFwtKMlX9G4V6n57vbzBxhmeM92di1CMh8psd6whAza6Y64TXxryzqhEs0yx6MpJfbQnDxsN9vkHoP/2TNTafS+Ct7EczmixDM0YyDC01QDo3x/nQVI0WORhYwGo4KhMH3i1YYkCGsLObLIzaxxLmkCW4DdfvPZvGriHOt3hJWwtSNWblZZ4MmUxk+38ZtgkOyg3bQre1O/xVrcSqEc9EMXf588ZtUPWVX5aa+YTFk18IhF51LgcfBGJHPMpWHSOAvIbzaGHqaUzflxvAnqvlIpbRLLu9IUcahAJgPq/Y93MXW9NcF90NBa20usxSwF7b4GZh3HM+KWV/Tju+t4hwv+HnOwiqOCU1y3G6HRr2fVDewm1NojE8eXDhu/ss2uuZ9LzsS0OZWuD7dEGOgnfD2SnKKJdJBG0WwI2hwFuUdD+IE52SFi0cFa1THpPtlNxz0sVGMe+zoNtHWvU7DyCBIiqTAl6CH82FYQY0na+qW1lnfBncBNyiZlnOKYJwhOZMpyozyDpZ6TFDWOXUkc5l1T33XfYzDXakSqYs52UgCegGTxIreIpiMUXTZFHUGVHEKwf0ResodDjtDdiQFD39H3jv0yevHfWZIwHZbFqUDLFSSRgcYGzKA68qJlJGaXq/XhCzztqmRSOuWbt/txuYQeP68D1AgFqPrqx/iMK5VUabQr9IJnVTn1lftvd8Pl9huHTXTcpSQz1F6pzvs7ZpEmMymK0YQKH/5Ne1tU7XSrgZ4KHkwkJrZFw27cTwJbHwIJrVqmjOZJqQluHPc3Z8zJQT6XoJc97gvJZEskja3/YcHS+lHJM0zdGMAsXj1KMrytTgETeQ6hCfSOYcjUl4VzuPqNd9xIaChWEnXAtwAT27gxRb49lxDEr/P3AVpXaaE61SQuCBevSxprnGY40SyIY6yrv16vJX3k8Z238Y0IWnA3vLsf2cVpE52NSxNJg0s5pszItLplaxnEcPwh5TtRjrIGaxfqwCOMkYXzpq3IC9hi2ClgdYVPpkxYtlmbMsV6d3i3odQGMBHyoKT+YZryFvI4EUru6hjc/THObdBRhQIz/KtLQPvB2+iRB2/j2R67blt1+HkzvQzZrOZivVMnA4sCDhOIOLJr0tJxqJnq/Q4k8amkgCAigLrzsw5HYTfiaMUFYMkxBTJSKxvnlscxn3Zgwsbq6uGOcFqsLPd80TfnXG1bcOIT7n3QyMKUKKUVpHQ8MGJ3GlbGeg3m8V8qgFWxs/53p8TAAwkWilsYQpmYWnuYMc8Cc4Ei3D1R0q/OiZtdHAmYK4uy9BS0g67wOKtfmUAxfQSa6yH4i3Bvau16omlPugxsy780aFR3DC2ljZtzu4x1nCkKWMYd5lfIxPMXiosacPJZcC9fkULf/Krgm2scLD9Md1td0VZVkUeO+wcW2xPzgvwDTUgEYrrTqfptJYISCkiSLygNZ6s2TSaGWYMWWHN6BIQf9jGkgYnSgcRKOcNv58iZOXAhHMDp1TqjPjj1HGqw5Ltvu5DLZ7rtswrUfN3HhngxOU9c/PuYUJXjC64Tf1d/FWUkWd98WCxbvv6bf6fQ87c4YxMTnAy4zsKK6FwMM5+3zGxFY3cJNkfEKMA52dlTnsVLWtGRoogGYDkTD554+hZYseHM1nsCt7bEiSAy/BQGAAURBrcisAIQquvduqXmVy9sB5wsxbhOZhBXYpZsUU/WCm4Dc8akpl1tTZjUEg5T7MAKgvIWiZSyf/VxoeB5OfM++09+72+8Q7Cz/Va3IH2SMLLgMHqMUaHe5HZ7ra04az3x2RsebPpvFepuXFQOmq61xx3wRxwieu48JfJ8qxFXCtsPavBDi+YAlqSIYh9nXfmlHS+ZF7Df0vgB8AyuHl1ut9db/DNwsatQMZ7ohf889Ht7On6lxC64kGhwx7AVUxUvgFe6CvfbpmAhkqy0uTBWRw6/4fzYGSgZ+UnA2cUT4wClnBg8ffHYxg/mfvtSqOm+RmgD+4dasc3C//ionvxodCrz8t8puBJ9BJePEm/RH00a9w3Qi5q5JnP10NvVPLIX5eUK+9qfCS+ET/6VKpYyN0BCSWCyJ9CEF8OQTW2gVZm7Lce0g3Xyx88mPyBN4BdzQlUBBIFfqbH5hxqS6YZ0H7tUlHCDztFLsxHxAkC9p6pJO+gWZW4hoI5E6R9pHfOgNk5W+b6akgw0i0AZFklwlMJXjyCJphJz71uDwAJ/fBK9wUD0V+4NBoPqZ/V/+5Z2Bnuwz0XvhVKC/6mEDK72SgWgRQQUj0gRuARtnlnwSFlOSbanv5LdZ67M78zqEQpCmipksz6Ne57zRbXSQFFeInpkQU3GSIMeTNp+9h1tHkEoaUhgYD+ODS0nP9CrB7M+2eN8W2gtN6suPTpYHP9LEBqiwBJWRiTrreS+Nt8F4tBZGGzk5/NN3Yu0R7+X1Z746yIT7VODIfWCNxIqHfgQAUJYHsTZMQeOvz0BWuWUsxPVKBlQAr9s2Tne1oZdZyCW1XWF4u0/sFnguA0TXDbshSdMeywb4tHsdD6OBX6oAjunWr6LIaepnQmm1xHvhf4PogLTlrmfUDMWLlfqf5wUzSOmpI/AsFrIy/+6qcjs5+pLZKaMzCVq3SfNIBMUzjwuLerqlhVGsslCZONN3Jy2v/ma2oz16C9hXAxyOLZYe7e7dUFqPEb5I8Rs7eZWKSp2gAppfhY4dKgY08TUBtBfwvH9JoQ8we4JDXnDqwAt1RZemoUCRrODiWGAQ4NmXOPJtYoaM3P8PfeUPf/xw/UqdN2xIM8azunVSKR6/Y/HFVMNu3fBYue7Xr2aJdNfUk+3/VVEmp4tsAgxL418OmtWCTbEjetlldoSMGAPpbkGZ50ir/PF5ZTwE/leVQBWYIubSYxpDLgZAEY9vMtgr/4tYE3lqndUU21D6F2gzVh7ebO8h5BdgpZQxRLZCWnhvvaKpB+bkeK2gotoqmBXRv1bQN/UVwgWnylQZ7fiHnAHd3qwOcvDnmUAug/4jVydTNEu6AbF39NHW18A7pEcW9qZOqGPLE2RfL6Ac1pbiixp4RFhflXFo1oS0QXb84Cz9NI6avkn3SEej1KiojqY8tePK5O/hDuKtituCkKDc3vj5jOhKOpZUciJKptYQmEItOIyT4lrFtl6sdxCJEudZZq2+7eY4kTUj4o1zUIF14gCFjtCLGBrfbAPXtUFCO4lERecYmRE1/Z1NEpktOxm9c3ZBu0s/5VxTXuPCKc+Vj7SB/sYMn1svop2NaLum8so13N+kqYcTRls8rOWmBjC09SsXDn9C/LYSm53oZ4KD8wNCkAfacNZDNPGuaultu6n1WHvgX39WTPfazT2o6HL6qeoX3kAaQIquDIDwPd6PZDwxtRLEGpDPmR6cOgbqXmZ66Ziomv7vo/JmjVoZ4oy2nvIqdTuOnGvKk5lsMYwawsogUeDgUjawW375U/MfCDvghu5dSRp+EKlt7F6X72ex6YYc51fohAMP6nf7YEfbG5I387+UdO9/sX3M8bSsIpWPuojDFCzcNwxyxqZ8XfD1OBax3sE1WV6zFpDcVS2NSbH0DxsVphFOJZXxoHKs3ZlFyMffnr1jr5jCAp1CMxO2DiIyDrmoiquQqqIOE1LT3bDEAu/EVX67uB/iQ4ro1E/Os+4NOueeAY9MgM6dOOQv6zAez50UxeovbGdPOH+1/osHasLfgkJcK/S9lZWGTuza9HUmI3/5JgGSBiQMssVHmTvrhP52xhmtX1jTD25oWd4dfLul3S6luWlDi/STmF6nuoqnM27ExtC57qtt1+bUwUcPxugMI36s9mMqVQYZ0ntPVSEbkX4ob3ei5Z9Xul/gGfXbY52XVisXvXOkWI+c0wjrmMn/3DmAXiow1Ey9RwZ3fxLoqGxAyzN4byqQP2wTS8908Qtg90M1fEdBHSs7sqRTc7IBUM4Pg0iB6KAKc8dLuDE6yaCKmwG2sHb0LN3ioGsV6/XMr1OHSRF03j9JDqcTE34oWjGM/9x5GNJ8r/cmozfZq8wLVVT9XTGQnAWr7OdEIJbsMzbPJAUNxgBbmvw2XsGTNI4za+vnfh4dczuxqAMDYpmGx6sXCO6cy6C9CL3GhpDWjWAHKh+IossSDw8SXKea7qQt6OZ6DJFvzXE1nJwB0w9my8fSAaxPl8cm+gJHT52HbjCk5MtvtsRDvp6/3liWBhjTPC8Mrl4Zz17zAcVjrb2OnggUTjIhMgc2fhg7DPYF0FxL6Yi1NevJpYMYuaxQG8YZNdhZ1gG9UUxTIzR49A+r/YdEIY9B2EPcCLi2sTJT6hES550fe0hxUaZV+4MKOF3bZoRvsTwW/0c86nVVmnbA2L0tINren+C8yKK08Jy6t8+SgSQOLRKQ7w23FndqybuD5wU61BdTStsGfqRGu0qxMsaGJ9FBSPYtB6NgmCtSBqgCJEvgbGoOnEm59987fzluS0HbsO9ZznN8SmUBrQPwPfjiXBCg65j/nM0Bs3lwjKYdKYQK1Xy176/tLcgf0ffwNe7qZmVx3CXOXRp0jcr1MGXTqMdng0Yso6l3xwr/SfjsXf4pMQdB3wBXJrG2C/o/bhQBhl7SghGg3ClWDL6dw1Vi5qFlY5NQphSB5guUDpJlWfrTRMy8FjreolmslKpYibCR8iaMvNAM6HlN5AWNmYLb6gnU41lCubsBG9VQBOa9PesxL1h6BnO4hLviwhTIQm7VZRHQaQ33qkcEbi2QGOl1terXzJhg2Zo1MwYWebRrLjVFq4h8twcoU2CItCthAme037Tg5wHWJqZbmN3qhO0iVxl1c+l6LtIjNCOt5/xMk0AAemOAXk3/Uq1QJCQUytHLwfQPo45UMCzXBumvODjo89gf0RAs4IfCyomFP0LogMmyw3lJ+tLzAH4ZhauKLqgbkoU2TogBeQgMYx6iSNDE5Dted92dy4YRzo7RRgeEUSjqYSdznMKfC4Hg3RtfQ4yQbSynqEnPHta3qb4LfdoHPrsQ3Y7sKPQqv0lJLFGIVYM5wI1PKYUiA2ucXXbZ33QeVn/+NG3IqooCKFrloEgr5awHZ4LQDX6Dw4fUsalwizW9xApqiWBi4/fsX/tv1YojGzqASPsANZRSXK33ROX7yha8LurBt+kg54rdUt9H8U5FHZzdCLIFIqbskw6ul/fpVr0+4vCBMn2ikXHP+2CAs2tAXg5MutyJM0T6C2wyzIbepoiBnvAB2qnbgm1tirjCfzEBKN1E8WOLrXDGAiPtxuJNdH9Z9KbTa5gG+n5+NKcJAbsVkBPP1gK1Db4skw6V95WCflrC4P0x1rxH4qHwRYco7HWE9GtP5wNA14i9SEmy654FAxUQE3/zdyI/ySHAVJE7jYRuBofowQ6J5JqEYZtL8YbnlC5tJpv4Ix4SQxh+EojPDjFynkN8isc4IsN8kfQHHRA3y/BeA1nwjY8QrSoZLS5/uio+MN+4dizAzpzpWRbnxZNB1DcEdVU1on8prUfDygQDCU0oag8HNCBRBzOu15iQ=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IDw8QZnT3KVLgIkmA4yG66JwEypn5lzF5ucBb12zbJgKWe5k2lobW5xMIAmT50aNKO3ahiyUhgA5eirEoXo0GsiwGpDhe60zSoNh/5wo7B6T8GnfgnCc+4juO7juVVepqfbJeEx2q2JU9OQHf79QY3ta/sbCYkLmLHlDQbdpMO9dktbtexHNRbrn8GgrUTYDK9jk4PvQ2inmTBG8i9mWwJQRz8dNXGuAW+D8NDf0Mjfjd9R0a/6peqnHRJFI816sBSmL6tbLxFWskIpVREMidn3HXwXHsmAmdA4i5M8qNBHYpB/h4jM6215RrC3TMrGPadcT5+84jwja09kBCpKC8qT7FivuRNTXRxnLMluGeqRkwUhFtnYn06blzaZRaRYn2QHv4mtNy0O9DEZ/l9XkyOnluUN5i4gm/CuhiRMSisbXIRvUMP6hQ4vlVujfejEMoLfwX2Ip4YjVDYMUpRONMV6BrNQIo78a0FyWFeoxwKnLbqU0ruc/+e++NaojcQTdF7YEJHJT17WXl5scGx/Xlb+GKWRBvjonxd25HZNM92/vMPEC+F8p5WWVCENmY7hLAezUwRMyLONV/7uECnV4vNcsjjVlAV1ADmwyfF+ez7Om6I8yCkcShy/JUT0bqEor+LZYtxHEUeP0k92QN9iQ+dwNh/RKhRz50DPHQdITiRrmBx0s+ac5KwtMrtkXkQ/YZV+MN/oXgkMOW9grfjxIWmSNfJgPx240NvUrhSg6ts+T0q7A752oE7UqoPK56D48OpYO8brsNchyGZJq84Ja9PswexWQggCP31TJl1Y7RD9br4lxLZj2yKx+Z1CwMYNjEYKIoFFHgE5BfC7Q5TIBkmV2Ap3cPtH8BcrzkRM+GleBpZc/FhjJ/r6Sbb8PKOoEljlWdGHQyKqYC/HTZ2JUIc1O5+qSjYanbZi6NNrToPIx+h0SrZRvU6LHpzsVuoEQZ7/z301RGjyjxMu+Aa7cXaU6IGNjUEU1moGfG2s1OS6iVs/xWtW5fkpBdXkmHN1DsYyaqhLPefKkvdUvo9YaAohd7acnsKv7uhf7t5r1ib59UVkf0l9MuLh7tfplhh8Zh83dfvAPKl2UPMEH9mABrt36a2/i3q6WbXzhARKGWo++9fcYMfROhQwSiZ7550FPmnVBDxHXK+Jdmlgjc7xYXdngDr1z0YUXXW9C2cbU9K1k/DiWOIxvWorTCZM5X1fSdw/0oy4cizz8buUPDeAkl+9k7H2SuAU09T6f147unlc+UspwekpYvwEedKFX8+VQHUnU3rlaxjREV03Xw26/cjQglS63pCuDFzkrBzuY0Rd8CyQH3/yuQ4rTZ0U7sFwt49PkjN+QjARAe7B5H1QeiM8Lyi8Yu8/bv28eUrblkyjVgoaBK+9avZ9xfNqiJwgaePrnc1CJpRHKZyDH8YwiJb7z6Q1dCGPINssHj8Gc8GcHqdP9l7AHeb4feqSeGcCMymf95MUsbVdbYVl4Ipcdy/TS+mscQ9eaBthdCJkmI0IdNKtKwyjmvWoPSZAy9sh1oBTvtBb1ulql+6SRSxBZaKHMS6EkskiE4qUDcTr7HTadxDnQKVJ6bgd97muO5WJAv2U9OnHPH8ZWa0CzFTJGeBz7KqQcqODpxR3zM6QQH/0tyYlz0Jp0RVpf8UdyhXH/HdN/4dOKrEf+QrMIQoa0TVtBUHm6lorTsvH05SkenkKDCc0yhg8cnl+OH1BlEBUnk46AQgtG59HuuGki2VeJwmxE5ZsyglT9mjbPk4k13ydqkMpyju62sm4ts5ZAt/yZHEKaZ2jv9MG/iGqSNh5UZ3e8/zJA4w6S86j65nCaPgXps4VBPenPAE9l1LKWW6bxWxbRR0cVDtuFpo5mZYbjih/yX+SRtm9KN41hGoqqxshvDpKuklqVMQcQr5vgkIeMk96YoWKMDY7NhuQm8RLMbJO4SxvL92tdZZSe9aBuM7Mfi3+xkplGlBG1hXpyTjSyi5hC9eVu2kE5BqMvCUmP0m4zL8W8P76m6ddj2seS4q0H8IfRLKYRnQco3exBCmIvSa++acjdkPiyGnLSoH8XBl2YMFCr+VI+SvPAk9HT6mEBK5640WzM0kmn+FE5R0cN8dDB3D7pzW9PmcOI4shHBpJsYvSy9cQGYYeQwPAeTCMJle5vu/ivPXhQleyY5okJ4Ucw6fS8bNkegE2et3NFuwIiat/ShhLVAGZNW7fHpWOBA4BUTFGi2ht6U33AuHl5ci8atij20liSmei0m4UOBNq5PnZrjbcDUDYqpjt/p3bfLiMKsfmTNm6zyJZDtixvyjCtk03OaOZ7lQf+0JQ6mO3+3t6+x1iZYy08OAaXyRCSftlQuTJBGDxSEzbOx7+17FcBIYbPUplXR3g5HGY9YXUO+DAQRGU0w8+Mg5y1tM21jOpLkmkXSREdhEVNZti2zaos8NFXJG1QXVROp73nWAEGcxWdRglBtLRDMXMk/qQ7zcbGUv3Eq2Z7xIndtre678vt+dvWbI3I8lBWQQSjE5NYr8oy1ZNz5cAJr38J493E2RIIrifhrBwcSYGW79yxHe0LHtTADzcOTRRcVlhH1gQSTHBC3Vd23NZY5S7NxjMqLrQiIDKAMkAaiFXVKNoHDTfavYLk9m1L//DeB8zRG6xRs6jTMy5KU3PVyt3m8JqNw8Jf7XgTFo5gPrB4QdLHfY1760bY0njWIlhDgspWF+NlIRLMHhtuZ2X+y4jhLdollGUVlM1xTlWf5fZvPBUOqx5yyVT1k3t5QxzVg+Vjr0r3B1yXmhLtwTClMeS2lOhDo2PprbcShKxTQbUJ6A2UIA3gxh9AaDs3K+4lXI8Rem8sC1OVrcU/ZCJYilAqHfxO57Q3jReMVvIzOhgYj29poUTwBJaZBsa7+Qkt4ICmZM5Q7FXS4h9GACPFGQIGR+1iDBWGlvbxEG3VrLf8lgWV9l3hHIpwbbkY5F7HrQciZMGVk0Rm4aJrjKRTeebfuw1choTm8EvvNCtuBVx68ua0/cOshBkItDEMahxMiXulimYN8/iEjrAtk3q280ob+33JocWwOORHwSuOvvWGKtPBmx1j98bWZfTUc1CzyNDdx67p/Bh/RL73QxxXh7lyNDFcx6zO1C2smM/Ib26dZCHi/SipdOOymai88poFbhv4yq+/obpZpTbLnYeB5KAFE7x6Bmi+kTzxRrHl/JGEOjB2BtAhU67QIQHcRq0Fz7VNt8JZR5eTwl5gPBPhxGk5oE32LJDZXqPFFc8hMhOkz1oVnXM6fn+0ue8D6IPwXyTMXRDRcog58VcnD0nSb8OL1yxmQoKfJ7GwIyEYB1l4znhkQ/lkE1B3aosU/+rx4BJAf9bPePkkWBNshxMgFuyq0qRhgTcGkLDqqOcbhHdSfUQeQFbGCNMyO5I+/PeLVfLm/NOO3dOy5gAAHucngEOmJHwiJMpmORji9pu+KdcQux8mcnvqPk8hhprd3nRJSBygmDtQW6Ckmwh38Kkk+qhfWjxrSbjFr0Px9wc69fJdcam5jm0VAPl0fGgTEDefB3NJtyhOiQkIca6jhmBnI5fbkVVXy+25cLvwr6Z/IyeYHLK8GjTZl0QCb7CffgpCnadZz5OhxYCI2nNZiZi1lJ/qoOttQbnNRFx1z6v/H6vjtmoSCk4wKxZq/rdi82e2bn8dDh1JbAw4Y7I2hfNz4Xbl/9OzivHrUohwin28oY26Yta6LLoBDgxhfq1iHHJKyOg0tVgrDw43gUgWoYg6bPq5/6FjAq/0n6TBDh7Z9HLSaeEgLFf86yvVBZvXZH6vXI+ji4ErX2p850o/lEOX+UUmagK4CbKpSk/+YVyuEUxA1XIwUxJ6rkLBNYZ7jPk1wf2RHrKJ/wYnOJKm5lGxG+58yRV4ToVWYABxVRAxj7xZ0mQkZ9dVQ5vGFJL+IC197wuVy7MP/E7W5ty8UQSD7WvG3ZH6tygtYllSC93K1a9531QtVGbCksEOas+VrmXsGToCNG1pj83Us+JehGmH8elQFjzpWXtxAgFO/F5tR9oYLHghWU/SHgvTd4vssudnYOpzEEYkeNb3odNEbpwitm/6SJDFT2Oa9Ulwf63wmg9cmS7E9ABLI4+Tw8thcfUc0xZU9fAAqGXSQfki4+c5EyBtWUeoIeFBjCu9I1PNCobFb39xGPTiz1EZRQOJ5afnDY41ib6xlmQG7jKNPmdqpG+QwrvHx8em493Z5cgiCv25DPUViZkQAM1rDd9scGHB8Px7/W/EEYmLV7VlRaSRYrLaVrrB4aZ28Atn8DSupiMPs1Cwz1q+PYPTzX66pOFxeUeOzGrnFXnwUg9kZWGnBLr8ZKqZm3dHa+5+vUiNyYMmn0HWjJnTlBGxqLrJZhsx1ebRGel+oRa4uEVjykCGkp8Rv35qdtPTAibjvf/Eokh0zs9HchdWC7wSW7wO0Nq6ZK6ZoVCevFAdzuf36Ohf5OZAtvGADkR4cWj0LQw9mgyht6qKlpxySmRqjffMJll/LJekYcjvI5+eTPgzgNoCzLuaAtGjYSPoiZEGY2cBR6Uj4jXRtSRBOs3BW0saDDQq0CsC+aBQPYUsi1rrKlt8948bPgUxBRf6k44OOh4eT5AJr1Wz08YPB9EAoBbeOj22G26VOZOISHVQo60rxiccLxOGDAQG8FmtECtEedyhFx/Jit8QM5PNoH0VwaIraQh3Yo5CkDvM6N/n5UsbmVTcnADLAGAs+OBJI+8T2O7ehNH/UX3Jg+Gptf92EqdrqIKpOMH1YKJbFtNehxbQiZmnHpoEnEB5KyPeKR8x4hWufb82VBH1cgrFdE5+ZKihVvnjRY3OrcIzoq7GWpYsPFnzH6zhbBq8GbV72ZwHD7+owSNeVCxfI/H3lPhzuA5jU8PIKRriOUgCfFllBNIn1mXGah+ouk+2QNCZDA4mCjMy93lpmSacpjrFenjXsRxcewDAo8bmSEW5nWa9lkejNgF/BUGsTya8/JrPASVXRke56hRS0Lh9sZk13IGAW2f2sur/DmfWoOGCum90ObZnT9nj9FmSTHYPNedrq0STVbBheG6Pbd91ocRhJvS8/2QSrawosGKTQ1pU53eiBVpm+roHq4H5/HtU1JY1Vl3NxAwqROB1/Jp6ZxahXYrSISXF+8NOUYqSvW8YvQPa5AzO6lNuh9zqIE2djhpSywUmT1GvTmq7tKFLaZU9KwuKmSTWW5kquUQDiE7nZIfg63ZcHWog+o0DnPPuHb/Un+LyB1QG/WBhISQn9316dSJF8+cBseDD71lMt3XbCiBW5O6+7wf0jvw/P2HJC7C3f5KM4vsC7CNkJD8XXc8J/YcG17UUu8tI2NrqwnQLx8Mo7viDurF20lBa8VoY4SXJS9QUgkGKYlR1jpZqfcDGrX6sSkVMY3Aw/mKalpT/zoPgvXjayig2OtDfrTVri1VR8/lmhH2BWiZPIcHE2+J7n709Wfle4/oWGDYUMGKMKU68CeHZ9NYwswAs6GUutgaBKI9M88HL8YhwxGvBKgn//YE5MgVPiamzBHXf7AwBsAQk9cjPLi17AQzLectacS5GAdK0RpH8I0TX3uNiE1pBhjrbxvn5Kg19bWWOZfWtnMQY0/KWFqClsGpGf2XN1JpY0gBGAgiLHrsVlsm05zWe09P5Z893GKvag7GKoTPnDpbJ9aEORJ+D3WIkbXZVzlIkLAI3BRC32qzjQe9B7t9molH5Qu7YzTWVKQkccGlMt3g1TAn3v/r+fq6rv8gIbtnfnlhovLSJKgPNrXjKjSBju3oGYOV6b3dap1hSIIFGnNf9aW19B2IfSkdenbw7vwGsyohZXVTquSGs7XYF+BksPnhyvZGLfwv5q+P4XOqyOy4KvXjgbeM2CqUVpPpnL3piR2RSRjzeRqt/gmT4TfC/JEGBQ8O9wNsc1ETHoPx+EtZNoeE6RMS46dEcYiExvEY7PC65Ed2EmkuGABJUMn+JB6WQlYt0GYsA/9eTVfp5aaUrsO4qLOFnIY3AGBjneizdU71h8mw2XnTQ/kEG8+IzKA9RrE24lIuxgDLzqg8wWbl511yjD40Fm4xL3dBp9NlMtcpbGyh7j+ohNHbzQiEOXAhCp+/6bXSJ5OcBLoIHstDpeFnu+BecCjtOVNm6IMOLqIAnsOAOmcWWAqKZ3aBQxw8ynBjUvjVYBmFPpO6y2FyZu/zGS2+0m99fjGMyJVZqMavqMsywJgv5hL9+C1nqlmc16VAEowwHCIVCqhQmyAS7D3PuybXnOUd229AklhErdfvAUeDCjcMG2q+/7sy7Q9cdyRY5Y2r/y87gP8xmP1JwCXsSEprWtZsPxsaf7jtjEJpSkLSEa7yRaqgXukJbOkWtXMf4/vmiPMlmSj5EnFbBd6hxTdrnEAssDKFLmBp1s49piuG1xb7sluEaIPF4vpxrtegnjFAVi2wNA6MU2YpZm1agAP0SL229OvXbqEQMeaVq7M8wsSuZxAeR82ZHQE4npM+loqJZV5kyGscLWjnISbqVmT+yHpXbkFcc+4ebHdMJMjoJkvXpaUmQopJnPkKj5PXc4p2SDfBInpvdA+HDP2fALk73IpOJnp+ufuYeUZNBJLfQmgv09/tTEnFeKJb1Kst72II2xN4iK53+faWrMhPA4Y8X6BWCsfIsfvAm1UIgTQunwlm2sjc4Zb28i+Oza7LxJr8oVMV9Ohs+u6AQCEh5hUsQoEvku/0z/eCwx9q2ywUp4Kci7emxlcstwfQ+v96NXYfjzEAzr23ckVgwkkIwY6Q6oAX+/DoHIv7PLpMg/1vHVigfcSfksd8yJFLzzcjQV5QB0TwAn8GRG11SaGzd5ZpXVrotWTbFanuj8f5Et8HosaYiVDvBsVMjJeH/dnp+euJBbmEmTh5uadkvfBDhtHOOS3ylMZzd6LYrzaZyjy8nHOHS/H7bzGvBT1bpyZ2qga+XAXu9UvqYOvMaGWrhlZhChrv+/A+PMasVdzyKSsCeCnQNUxYkRpGCGiIp+S6cgldykD49xXRaJExrgEjpBz8ZABXezV2SuhnscqKuoVVdlGaQaamKa7QCO4TwapNKx/k2hzbqGIEzCq+4onhjdDE7pYsk3TXOu6qwHtpqcwaYgnsCwHm12LHblBIXpRe3ngJEQyrnPZqlWr3s0Izo13lL0EFje2Y1jq2+2lLcAZKgszAVlH2qphrKOSN2oayHBwvE6tuHDndHO5IqDLKqhvRBu4nR6/lcOQqZgrs/xxQQbP2xWlB02371ODXctlR40s+nJpUH59YOc3dQrC7K15uCOqZdMxTLuLAv6w8V5L4jcd9g9WBNhVlrcVD3ha+H9VxYdWHNdOg0thmUTMsfGp0wsTwLcXveaHWf0SR1jmZhtqar6UddcKi+8rSpB9Vyzy/tsGWKu6YRu/5AUaq+WK1HGYGN6hUrGjUBzHyU/hZV/OnvTzVi9cAcenvgx7HRVzhk0YrvqfxevPWAmLuK0MivvxQbF5frKhavZgU+fFRGaRQj01ZeRkWCiJyYDKAHUsK4i17J4ButInRcTy8aoNFtl4iTYukSOR7DS2qc7eGF8cVOmtHUDbBVfnogJv2mQzPa9kCkJvzFzI3pYw2idxbwxUhW8hZqSrm7XhRxh0aunSyc0vlLmA0YA6j3d3xGU/hbeBA/wuRw8B3BzmDJNE0kJNfhLKM791mVTm67wvIA1ZwYcLFFplaaJNGNg+5g1gb1xlRR3fagubr66sea5VzlT7w48LnypKZL5qPPExafXxVnmbeCrdir5t2z9xuda6fn1OWoJWVBgrP4HIoWFDjs0bBMoi0ILfolSXg2YI3ZD+5FD+Tcy0mylkcF1Fg4oRvgNjRoO1P0NmwpkSY/LxgwaGAYkOygIaD6tOz1hSO6LpFAXm+sjKxXtiWUj2ItxcW3LQ5ys5aeiHNtFf4SFe3mJQo7Y34bmitnDq938BBKBBBQq60UJGK15cO8Hrz2KGk40DwJrBs6aIYkJ302zZKbMvXrV+MaRrtZVUETESpsKVH3NAKJTn+zG7Yz5KIlbkRn740way761QXiB3UAi0YB2LzgrXxglQfxbLSf4QUXyN8XlwQ19ddYeQycc5Q/FhaMYCUX2clUzLNds2O9OjwUdO7CXnStcvwHmBWjQCPFz9kceB6TRvNGA87FSxCn31eMfSumD/3p7xYWS5lWiNNVotWJEdIN1aooC1DuUOVboSPcOrg2zKObWP58JQOhtN4EjYfIHKlEka8NjO2HnOY8xIz3pmUCag6A+HJcEMMJ3bgpUJaENwFtauTXu1P3K/f3Fh30iToQz3eGea5z4IxEihZDSj0EjEO0SbBG8imQW1ph1kbA18UF+LFcBptMZFZko1SJvbkG67bMfFlZXVslKD2kotG1E8pnfmEcrrKstpd6FfFOqwU9ZLqCsZvgdfd/nGY8+RdxTNW+oHMnJfPNqqCM/X+faEb4KjYGBJoKApj9TBqXCnlua5KER+ImefH3Xd8cYeQxdqwFLGpcytUPCYSuySCxCDtHx4H9kyCO0v2tlfON3RjfqZcs1bLhC4cW3lgq6XZUiNmSAp0jQr4BSKvJYBege9yKQKBZ9CoCpl1ooi77Tm5drB2/BlM1CctGLSVXbL7BwQRU8YZeMNAjC5mysZbbWH+PdvNDPAsLgk111y2OMP0gujnjiBSRoYozRKs0QhdR3vm4X2QNwAKpQAF6Gg1p7EwdTjFYBzJDOWoeGO4XPzG4Q5zDpHzvMEPnD8gP5z57uEcmw3e+8SSlEzuUW6ouUq4P21rGQCf+EAjt+IaMIMZde4JjQ4mj9h1W14OXlxFico6AGZzZer0yYEcBLgE7KwTMZQEXMu5X5uujfVwKLdqq4sLDv7E0j7Vcz0GzbcaarkzHIlf4wzGR7W0PlOP29lkgl4xU6Xwd4ZhNiUKz69KiRHL4K8X+NPnWwCr2pFHS1hm0e5WsAwriv9OE+/NqRTuXr6JxWfVYMJAkEmISCnPzBsI+dB8KBELA58DfMlvgQ2XkcYKWdGB+sMl4NiQ1974XKlC7oSVdKSRjx8akxk4YU3UnYcozuswdgz4VcgSSEZ+8wxPW5t0G3engy6LVf7PozuuGQRbgaPLE00ghSsOIx8yCfYE7gqZRGVgyIc/XI3t6A5u2n8o3lDyrqkJ4leQPqCgLozua/lGhPw57CDxWvm/CpkFv2BY75d7PRfeBRLin2RHRVtkZT62GnqiXtz4n2oMaer/neBksIo0d67bBVRL9lvNAxA42HZGLMpQ8NFcTaqWtGM/GdjnW+Y/C5t2Apd6rIa0Drg7nxTdZ/YGjVrVfGD6/jWkwbshdQGQ9SBayHEwHYdQRgkHbvsEwKlhr3QB9qfi+SzUXU0Hh+NQoRds4tiUGPtZEYrJd3QO3zan4rtjVIbBcpilF/0bjzhCsdJYXoF4F4SbCZXrC9LVRTzdi+gwnvAlwTPWnEFBV+VNal+pwRmfDkXd0m7SU8VAv3F296xXS6ht4cn4xOKb+H/Wa2W4SRAG4ZfwpZVKx5MUKTuL5RLCrYYWOZpZ747rQvdj/YycX+NcPWIhMbZAejvEtE4hpKGkl2n5P308bKpqqJeJmSzgT96c2HSnHTowKTusGR7N//wnacHZtAO7y9aEcQcAG2Cj9DLVC2yEkf9xHetUkyuTDgWInlAXKsl2N66Qp205fkoDIxwPHTEsvgQvGTCZXyeCjK3BQsCri3Gpl7oInZRfh7txr7/+QYDNGyFLDfMIg2TXmj7TCQpkjauiAchEF211CtRWS+RNIP9ehahhAELLTM7SPAP91pRwCGwMAGoLrsy7+JHpuD8AKMscwmMHN2pdOsMsvEFwMHV1xU1Zgjoe9dyP18tOa0d24XbyI94KEXn08w/Iai96smCmFjX3O8mgMdCP47SsNlsKnOPep6v/+ABE/EelbUQKoaFs8Idl8+UomndMnaopqGLaA7EAk4/ttrO/m3Tl3pR/fKUPkYAIVGQVH/xIZkEsn+t2VK2DBY6uVTGlHvkeIDHvzW/urLoZhtoSVpFcs7UwslV8o2xDOowxBHOYeARVU3hPe+W9MQw4FbCAwNY2DwpSGjUWs57Re1QWnIF/pIijpsNWzD3Eh6rDdEwDNaAJ9lqkmmdW3UcsrBSgRhvU6KQd+DYFP7rJ8dGVxmdUNkRyBule9VvDVVa+mgsW+jpAmx/bGkd//W2DjCIqAkopFEi2k7KBXSrxw9YcF93IFnpy+v0IBmBTu7pjK6k6impyL0HL+VpSGp2E0u2VgmyV4YsiDGHq4tIsp8pWnc2KfiBmELEp5glH2Uvt1MsH1H9BjI4XQgwi+xOsExh0k+WYA4Hf8WcLqZzlkspjfS+oyMlm88Za9FdFnS9L3UaPxc8fQ6+7QQiZo5iNtVqB1R1/nndA+OxDWXa0Hl8DFRGsN+diiMEejNp/UdnNq5MkPxm2RZuD7klvwzD4zac10l+Z5uJeFmA8J//CUOO8a0PDWRTbGsB3hSvOj6uYHCZkwcYMm7XulavPGQ+VwvwkDdvK2LAbLjkyi7ySrUOWUXwXerb/e+eYYiwoKFP3dCBhL27ighG0naxYIidSg3aofKmg6q2fQAnB6lhWzdH6kBEURnaRxgr51JXlEX96yz6uHrsqJiFaz1LkMnJ7rJEBdzR5RzpXoQVTylZPGLKTOow12kfWgpxI4ezvNZDzqEt+Rz7QFbss0d7sywzim0iEoLeW1Z0S9p2tPZc1Vc/ymhxPsRG2r1NCSUK2ARe7HfZMwbiOU4u30SnZrSj5OAXpaPYavLpinB0EyCxBgV24r5nIddxf64XZjTgk5C5YCPCEvnE/V+yZeT5TSuCph776fPG2JEXAbgRBS137Ipanfw4pzAVb4nyo/va4dIwuEzJCLBzwBt7BjAGG0dIQ8JZ3HJavoTlewiuea02cFD1XAZTprXpnJL1LG1ovmtVneA8s81MTMhLRcrUKxT/QZpcz0Lxl9SedC1D6qC6IJi1bB5MNf8ehi+Nf8hlqEKTNn49t32lLYtSD1Hrlos5LTCJPL5cEvvf11sL0IiZIJ15dRqHWQ22L5MPQlVhWyYtVRlJOGd9ukO1Aj1azA4PtFK5DzH0OxDVYRiIOph4fArcyDizus4jY2ldvXRwEx9KuBFxpuzQro36gj2QfUMcJz0hRNPAMealINYvJXmF4kF+iOXnXSAxItQOjjoqqtAMbiB4FhI0LYc3KA5lXsX8K9TFAn8jFuIEnY/ETsFsJB3ohaVd2CTLTQhtKWvg8y4CqfhI3O9xzc/Igifjyciv3FN0E8e+emLCml3fyOF6NyVwCMXrrp65JFlLq8KktSaUk5mXBim1Asa42lrDCHueoz937HThtDar8E5NmWvuSY3/mpDHIxbqlh9mKPv6MC6VqTckDUaUDDu9EeJfSYnwuJx8Fnt3FdeAVLMJRA/Xq8ENfeFP3ao68/Vjez1XfKibB7+Q1D8KTN1q/VaYUnss3FHXGVcSo85fX/w3jgSe51p6OMEquLqX2uDrPccHGZy9JURhdPpB0aDjrZ+CkrS8ZpALknaogn+K/BAwfpoRvktJks0im3U3tY87rvSHHw1gI23QtL5fZ9yI9xkH8UBwKpjnCe95k4hzoRfXpAD/H0stOC9qk3G5QNEoVzu9Cg/XPXFzAUe9uccPdBr7sOTipqR3NqMqiBARpAhGPxVbEjSbGcSiwBOV2CQ5pAYlGYU46GNri9pqDHvFNnXFo9l6w75jUsVTUgxezPkWoKdT2yfY9p6007CDwEgofvGabEFVtXuwfNeRP9k7oCZIWmrSiZevTHIfcrbDPhaH94IS76lFLYtd+qMK23LcgCbNPVtHfTXSaDrBz/3OmHQV8qd2Mb2LhRAVoH7g5fGXGhqddaR2cORvY3wxGw945cuLmR56PVhINJQbJqrKXM+EUnMH2CXxXDHcn9VGqfA2ZNTOY6O0wZwcV3wGZKlc3kSI9DY/wbu6PyEvZtMuDMViSKXC57C/SiJ1g+CfjUYA7/WfCYMGD0KwzxXpmoY0/wFiD8s88MSV6ZdiNuOlFeX6NC2OUu60WrcyzLutvBCeqjIWek39BbJ7rN1g3v3Myz2Rd67jpj875uTpowOEaQL+eDrcd6C1KRMjlX8vGnOfaV27P7L0Z7RuzetWgtQOPq5XiYp7yW/ZNRAfACSyuPMxfoW1l0AnUu0gn+1nsPJqZYqI2t/CRUpyh6HO3cy3octmxBByXT7iEwop7IP9rAUYAFEHbAql+iZV1w1UnWQ7HCBxMZmNggfmI+Ka5b1fhsP1TBxLSL1KwHMwuaSD383Yeob4de1dGrXqR3A07F/LDaz4nMUccGKSPO32M91jiNvP1xmKJr5736OXqz8Skspq7U/VK9qHskY0kQJqRti/qQXESRyxza3/ZJE+QrFUAx9h4rnJV0LetI2VEH0AcdOVgSJ5vDUFr8PNpnUdK+Ub46/IyPrPjuF+/VAVtCm2qey3VyU9khbYQKyBEt3r/10Tl9cJN699ohyvGPMLQUJdyFlSCPKnbtKn3FpsA+SO6NJokSRYmWYXFo2+I5z1c3nZCAlZbbdW2l3gKr/kFFnFUQxOperoPXTBy4YQT1yfA8ld0gPcacFY4d6OtHmV4ikWQVdugSnGEUJCXeG4agJEomemOHQFT73FK3s5Xu+8Rdhh3MQkhyebwKhJ+15FDXWYWwn02xYKqhmKjMEqloZG6Iw27VG4w13yk11GjEPTzerV6bl6I7Rx/rRP16b71QdIoJ9xIuhR4DVn1+jRzEYxemOdViiHa9nhGz8rd4Zt4Ijr7bsXT/t+h/4qyIGS7de8uaOLhC4q40XpE2NqmeBGWjKeKtZDx4zRCeOMk8OLM9Ta4Yzw8cb/FvQ6D7gtr0dHHsZBsCFY8mIkJlhratj5ubjsyq0KezFAKVF/rT9ebPSjsDP7QYPN00jrfNr08bR1R4cuCOBCXc2X6QMlPh5hoar4Z9PGmI48fDODajyw6z2UlIoGy9rtl5wuhdiPHA+LwGMUERt4bSU23E9QhiSPZ35zFfitLvCRWvzGrpc8zfbz3Bb27//BjJRl9jsUdSInY03tbRf/Gq2NHmmQRGAX/sNpHZ2njO9DdQNzuB9dt18qz3EH/hYSF6asZMLN712D7N+ATekpzUcqfK471sSdHIUQ5iMgFZV0tJvTuz3Xw2H2uZPq4AT+zOtXQe1X+kuM9iyDpT2fWp+7ztZN/jUwOhxQWkuEOvg2oDn5xMxFgpAMETBAyZSrnHgUBQFHs8c4C1xdE8Md/NJRmFf8PtJXLDy6F8/Q4PJZSPilg37L0N/eZBlTHq1IkiUtYcaD3HrFNtM8bGEtrZd29tVKCWS4n1dOau8R+fyyTvSfHJ1IJ4H6CVeaAsVUCyHpwFj5Bwbrur0MhUMw3VXLqo4cX5eUND6LRM6M7EIEhtMPVfnMXKCHKeW4yKU6MlTiOcwAA4fdtDx2Oqf+xHh6VNmSz9LKWZZETqntdLRJB+aRt77tW3KBQbkoMsLJsz4AddmwHrEq1OFDcEzmrG6LBEiJ8igo6qJi8c2WMJqH6ZIwk8RAdVCS8tKvsmq8GAkvnKKzVIaIIo031lR1P6L61tpf6lPjw+AhausmxyqmkgRsz7vPMK5zbN2hildn4k2Vb1OeKZvenmvZGWPJAIz6mZ8o/GRHxkaIoC416fgp77ieHChZseH7NA9bHW8GreiUtbTHeQ19CbZnRoCoPFvoRDKWnrxxTznyxd4kqxnE1iwMOsuhG3a321IM0dQ5aD2DE/Ucx9XeuIy/75u2I0vM4A5tplhjzlZUZpaLhhS2RYz7nzlauuzv20fUUH5shfgNikHoqDwL47iXlMT0DuabJCUiu1FRR/ci4iHbI+kY8Us2MRduCgtrVVJ+zXT5etinFwv1sh23o/pZxow+6ES7KDrikDsprCn6UIZ8HRVd3ACAkaIt7olQwcVTD3okrjvPbMxFfxV42jSDdd2nqbdtW3+MBYksovHudZB/bRK2QTi9odWNrE/oC3YVW5oEH1/hldeA3xzAPZVVb0IRyzb6dknKatfY8BCcDGzRxkBmquYyxspj1UESak8pS/dHMjELtDEp5tqEq8QG4HqhnFOMynp95uK7PsNm51n2i35xE+ZLWYBfSHI64jzrLrKwQkYX7KE1QTwqTivH6IMWASNBgtUAL7nblnqwiVHU3I2/VFYBysBTrEm8xNv2utDaZQiPS4vcHPaJZybD7+XH8gzM7Aa/EO4ZDBhCawcOzaJrGxC8sGsK+LoPeGvmlOtCPoK1rSqJpRgp+7LdelqmXhx/+gHK+rMoUNBmlHaEFS3rjGpaZ/BUPe/HRJZDWQtEpzSUc9WM/FGhOsa+5qCNhCJlyT3Wp3UzbBnk0zOsL8YKUNVOrsFuVttEGEZP0rq7T1Zhaf+pkAEO6GryKU7zMutWLgQamkaB90hJftwFFFwXbOcx9c0GdDRSDvtdrNQDcfXphWIpQ71n/xGwfqTpo/u/T6OOMB83MzZkZrqlcuHjJvjo47zI1z9o7lQaObGzQcU+YFBKMqWlmcA4Bw45UPRHXKgu+GLctYYHoma3UnfxwMZ9LcYz9a7PB7S/hIoivKBEAN5k+lh3b5S7TDnF7EUYGAL6oxVUuwXpjjmzU+NuMIQrooB8hkVy8wUYBFfpVoA+aj9nZmC92udqjpjlYXrZ4ZO2b5x9uqoyaP5AoWVhaJIZqAxWZotCgZaBsn11nTSOd7HKqt5jG1ZE7TqWrQ6f81m/S4detFL7nEJUln1w+EjONRWh8ROH/PAMyvpNHuhHlv3+tHHIg6X2z0gWn9jSjt7a+LS7l8BVRnBahrsxecz3unisFHe5UPVbHGENz29L/+pNPtU3KZJ+SzmeL2EjXhuNeXFV1tJRv5i1+DZulksBEfi2oafBFOr6TV1BFWm9qNhptdvKj7JvOiJHDMmB5oj3NAP19r+QAZR0PfNg3NeI0I4mUagOwb3O60CplGx8ZTxcAOT1jRr+MCljO7E1cxrPWwb7woyHzZZrlvb/BIlEsmHe8k91O9ZzkRGxfcbhQ2Y6HZQXWhvaix1TuJyAMBmw4l2FjQ3ZabviZE8lvwBye8mWYFjoHzARtbK4Eo6vEFCHTYZFjIhot6dvH8b3HxTkjob8j+pOqf1VJMifyKqUIxhGnr3OWJ4P8RxBb4VWm7DVnkVSYTkDz9LZH9YpMh+s6GBV3LL+YVrX54b94dmf1g0nAM15SJCJ+O8Sor1D4JJSMGTy5bn1ttp3L/DXtYZb4NCNxrqz4WmxPyT1TnfegnMrcnx6eKiLkiEAcV4omOdyNMY15+YZedlYX2xLQW1MZ97O0q5+qTCEPkMTUMY748pLhVGtgVQ68kckyQT8jMTT+zwrWkTQxw7BD7BkfB5/4sVLNFSZEW4lbaDzm2VGIJGAbCv8BLPg527Vl4IgYqXgu3oQCdSwbvBZKXmGRp5i2uRhE5hwBLAayvwxYkDkcsdOl12N8I57iS+/BpC8+2ImwItoMkU5IzN6VMYfj6vyyFdgqqA8YsBr+IoFAMvLxBDLD7sRPkHGnct1p/BPd8dW8vgVcO/Aa7xFZSXVoZiLraT03Xi7NFvklcQHj7TSmqx5Oa2sLg7Rg9749mjrpDoU4scrJovGcysbUOeOM+aK9FvWMC1Nk6ZlEjAoKnlSrwqdPYIi0sj+ZCl48TI5uZVS0bAobt0OrxaboLVPte6/Fl3/za1rMjqqQ9quDyLv0CmaytaM4ZpS20GMtzt/6KJk87uJbmg86nP7plA5pZd47qLEMsugagN1j3dv8J0iBHdN6VEunDyQWeDJn4pvh6K2/rA7vzj40A2PZUKop0U7ihwFF1TZJ4SQWRlbcjEFPVUgOx1ziREeJpel87BhtFGdMedCTrAHdAr22LMr+AkErOVLmmY/Mng5f9wP/dZZjzhKlwFt1hSIw2PzXH/ExKRuE0d4/JmJhzX0wk23Hx1/yrwc767pJ4hUIgDD6b8d2TPlXzTIfDFAr0QWMKROnJ3mD+eDgxOaU0VznMIfGvRWKT2QngjJ4zW7fF3WxlxBQ5e+zvwyRsYdFOylCpK/JYbLexEffT7xZyfCSwE5rh7EgvQi1NlY9rfc2U7bL5m/Eyg/1E3uBsWvZIelcEVHDuuZ9/UTJZAuXm7ZbBSt5vuyzfeCNf8c/N0C9kK6r/LE83SXod0j1nYwvMg6mQfL9Wucs4CTYG4KmN2xkaMYosM1UPBqUR0fiU8eYZBv2LWzTmJHSUqtL55y+jhuTSGDCJbZqa06lDI5v8/T45KeYrdCeUOOTkoi2rmCvKOZvxlsjmGnVkmsPNyn9i56IbNT8TkwXqFrV8KEZ0S/DvfNNAT9oHfoIsbqD5qSl123SkD99StCYGlDRDHRzUrXIipc+HqY2tiB/2rh3da0EDyOKiMEIuWi51W7scOg8mH5+0J1clPvxeDU4HP/hDebhlTkJjSuSasJAmz3uTmxYQrqw/LwkD/jGqRupDO3N1CGeTdwrovZG/83jg0i3uUQJXyiN4PBHZI9EHW9sPPAUpScShHezMMJ3NloLTz8wolOPogTtM7IUqujOHL/UPG/dpyiSiHGvUJ4DxUhl09ZL8GOzOU2mQ3Gi2ZfymtP47kVRC35HeyWBmR8SImq3zYNLskaLpajD33YZduSqT4J9wIT5pqZ50/71gzQF1TCM0vyH5jLHvBH5XvwmnqSKvnOX5sik9TFhtlVa7izb6CzLzccj7sT9Ng9siSLdbSxdqmrkX0ox1yHZEVSvOIZvW1kh7lt+IFhdV2HrGuX0JAf9xShXVP/ISHe06LR/5iGwqfXH0u9Ws+92A4id0CmMySO9EsrgP3TZNfPKWeJuZAQGMqKRkb6ZbkPwL0SkTOdT42DQA0DOXDY8NmM+du1vEiimfXQKNbkBNL6sctZ6l3BQTWThm02Lozq5Ra+hFlZEmfujE2KtYc3Rv83XVec4IIY4RUgaR6/0BMocCV18KDhPoPq8lA6byPvTBAdJBgkNq6wtpc/PzEwhaUfLI/cDVNlMAJDe0t7CEFGEp+zcJAKQg5PhesTafr02lEBd+YEJo9K6P3cIq8w7vSLQBJohNgdRjUswgfctaNPmPn7CZn8yUIExKP5FovxuLdfdnCzt7lef51plXQsNQA8vAJU+LZiGdT6t/21TQ5S3Fxhzm1JV86J9cmyM9AVXN0wR0cUBrOvGvJo+9Ts8NBB0UOGCtkVTRJt/Z5QgMSDQZ0K21vsOkZJjBFwRNaB7xbLqGdZBYWuWIFuIgQGYdAI/Tlg6VfoOXbVPOqFFB8j+iy0K3+GavY2gJ68JqLCPVbRRyr96C2m+bbwRdj6O+jIcMAG4MMmnZ+zn0loFocwKKmKV8AB6Iwgdoe3tTsUKhHf3faiMjQkVrqqpgjXWy13wEMiUJ0lcZZcFcZLpnhieg9zb9KUG1kuWjhTb+3934PcX8eZRJ+egZC8s/nW7pvImT9E1CQxIRbWmRbRELLXQOED+6gILO56D4qh2aThbx8SzsG7iIOHAYekBzK8WdluQkLbl4PbnAnNUVO4d3eK+qawo3yfSzzmtlvyJKmoWGrjw1U+158Dw3C84QX8060pLj0E0HBAkGneYzXttk4affOq9SXB0Rpa1zyr5+mex4Eu+dRvuk1m0Jf6jEnGAv1J/1mvM83qp2SeEjwikLKaw92BND6mqLmTiBCBLQjSGvCUXMm39KJh+nAqBv8hOYSKf+XcLIdFXC7wGQ8dck2+4Ro64Lasuvyoz9o6vDgG99S3VI6jETp6ONIAZoQVijUgKTn6EKDzlnIgwivOulyPGIPofgmjGcvCf90sRb1hU661Gua0TlmjvOazFvIPUT95Y1g2eHshVuTlQEI+QAjzg+mxvuiCdbbmZJZNEEBBLvUodQC+8pjzkaOELd5aY6iXlsw2wx2HvqbnEAr91MvSYkpw+wZzA65YZp0YoJbgdaSstwR6f63oeI2wRxgqipgHaL4DcQC4PYGfAwToL+nN6IH0x+ODVfrZYvH1S2myKdkji+EHBFsFcxSnSqGj09vCeQe23FTCxn7ioHXTEq0AJXdqqtIq6gS3IKVscOnIApBnpINaX6+s4eTd/wPllD3aKN8arF/GEW70HeGwMJrDX/nWLFtgqjjyPY9hS/jCfcyUGAqE22Jssvi/jDXqLTlf07ZRyDPTFozjVe6JUmtJSloDc3JA5aHLJiWYOF8nNiu6FDj2LljSw3Q3QnZYc8Llgw6QzW8buc6Jy9udrrdgA2sTV0rz2UXQUKY655w9hh/6r6bca+ZiyoKbUH7dYxpZEFx5auklBNTaXzyhJI8NnXsvs9F6t2xPYFvd8fqARr7nsQIIqRsEEQGWcqE/CAWTn74IrMQm6xchTekxEOI+qWu4RI9+jACoskLUlpDR6sDCjd5bK1CsMUT6Aag9Zdz+3nZBqYsS72DF6WUXzmHkRw0yiEcu1Oc7Xvi2tzfGZ8aOZxbYk4aX1kfKa14WNHoMum9DLlffTHRH0oQDa99AT9AXlJfDE/uDv6z5FeTAzweb1QPiGq4fmnSmbEPdciO+IYGI4GhnevLj7WYoLiOXkbNgwtxBIM8QUg0F0JlAZ++1Rp6HTn6LiONy4ypKCKf3EP6mQ1bn2VvJNnHp1T7afQed0s+BzoGGfBoy1+45m0GNK4dsYmiSJKTVgmTBi1QoXGMcCCGB4uz2ffMDP4gWWcMj8a0swKUHXK1T52/BcaVRPzvau8H5/+wOV0nRNHi9vXBdG83dIlnrCLyY8NQQwArBK0ww2DRE9oY4cb+Rb4LiYYlqcmq154CiamJAQhj1zgCCMMhUh/UrFwWFg7r1j5vL8FFqsbEWY9nXua4eg3UUzrU2vLuAiHb1bMKedxuS7Pfep8Ns4NtM8v1qLAvXC+BQ87OsgtypSheNWgwTc7/t0+1Fu6epL/3szHl29kUEBbBk7rD+Dl1ULE3b3Phm1MvR89GVFvaQbOkwcni8ONv66Oj93eIePVqcKJ+ib5H/BRWDbVjP6zEyLomdY1eDKG+ZPdWfXQQA0BQrVPcWzjq3rBTHuMBZ4Gzqzqd3e70U5jPStAuigMaNM8UtdXCPCuDlRG61jIyKj0YSY5zKqdn2WxUeEgSuQs4VCi4x3gt7E2Pu1OLfDUkF7PDjY1NhEmu58gp8znHkGcOyfo0ea0QRD4/H3gyZD14yk6UIlpOjZ1RVBcYHpJrFJV1pco3dIS+rNpZtwGEaTxpFI0hz961FaYMkksrb9vS06kRJ9jyO5c3WOX4wIxzYpGC1rWsWAS3nfRFNNj1BGuvPYgi9NkijxhsllOgPqkG6Pa2JkhGaKSGd7Rji8047fZIGjhg/smKnmWROPB+W7s7Yo8KRDPRslo9bPgU4ipzcqehCdCC8dmj8zFa+O8aH3rUb0u/MtllGOHVranK56Ari7nvxE7SkOxOBIBmIg67SqRJLpFUfHBRWg2Onl4FbOI8QuwV2C4i0NfAp0Or0qS+VXPYOJ3M/Gi5ciVvlF7XRBQh9bHFaP7PSc7urKRTVIhmJTbiZSFvasPlE0Scj5nHKmMltuqUpGv7OAgFg3cZij62zBFjufDQcMoMLL/0ye3xaKU8m9FXQKrXk3pnaURwvWiF3kmqHjJIozlhDfCqM6XFelgC2FDhmZxKd+YkR42UnwHqW4zS0GnGn+zBSEtcduGLK+NB1kz1K1wUJXsUeFP/J3Tcifi4ngvmd93s2ZSqJksL1uUYRe98+PGgMXJURsDT4jVcX6JucpTWF27Fazqurn4OYTL/jhOreegdwvBDiH7axS9imZOPN2Zgc3xlOO57+9L6vQYUYJy+Gyr+gByklzT5LZguShk4rbsgcidOsTTqODd6Jmzksiyae7sBE6wqNNar1JtNQxPvriCLj09WHWN9AttmCryk1Bfp1UmCYztFjeXenVZNIV634QRExW5jORxU5dkHr5xktNkjrpMqcPDUDkeYnIh9Vd9Z0uuhVTrGjwijIQKSf1V3miDGGnPrEUFmHZ09NcsYO3Y1SlKALlWKvKQ8jvMUEvvU1ytb68AcnZXUm8aDblSSPTi+MelCkrCbASEv5u+ZBggg05BzlZNOlEDICV/qTCzQp2ewUsNU2c2F1FuHQq7WOnTCHCI0drqKPiSOdLHr2AzW4UUcLPr/df8fXAB9rJdK3z/mDnqOVxS9d/qGsf+6p9ybiqa5UCAl+FvLYOVG5TaBRpBY8aw0O3CpuWF1bGRHyhPFF99x41zxCfXWU2rOCtCndyKgM8F/iRj8CFMbLkO/D36Hx09N7IxRQ6ri0XwnoO4EqswpycPJv3MN2ZbuZ4ILHl1APq2C9aRuCLzdFPoBCl6GwAZLzDcr7oXGlQrKP0TBDOUlCqud+YWYV0o1z8K97NO5FYEAbBGwk3KFeinF83OVcDkWjcmykK0PFM0xlhyqEoqZmsY1sD/YfFRFEzsAuhHqKzG0OXTTsiDirUkzKf+2dI+W2aSf7xKxWIz4KcTKwJIRdlz6zIr6WsKVH5uCfm4RvY3VSBmsbH+IziQ8z83eLWrDnHyihm968K0KN6PktN/RNFYO652EVRR8M+KlaTCFWxwR3DA/b3sA7g/wwGvoa99Qkisevc+x+8cpunvjmrpYEGZ7qgb0ow45L+gvph69rPymW/FM9SYiPyJnfrLrJPbojbf6d6Vcy4/b6SezZ/JZ84Rs2PKIQWz1T4pZPZRzVo4YYeU67j4rYDmCcni2uJD9gbzjL7WSDK81p+VR0ghnR8y8K2NWijHFuAk2gW2vIZFx1PxpR/aXMMkCEZ1yZiFY9VBSL6A1wzv9899r4OznLG8BU7Oqiux19D6Em1rRe5HYnM0vB6Gs/UACysWW+P2Xoq9DXkrN+jjUwAxvpSiufohZtfjcrsUKuPOxvUygj5mvdlXwFGOAh5eFbDvjzNOkEcTEgWOvzxLAED28UeoQ0nrSXdBjmkDIoVlZAjJ03SqssSVSeSx56FIAC+j0gHAJ6T8RdN7FtFIaPew04q19E7r/zE62mRZ5yH+ZkPgWm9vFaWYSvGI9gU3brRCpSh6XDimKHv1Xg748JgnFnM2vKjnh/nxYwWnU1gTsBuGmCJ/EjOJV/zJxAluWKjwqbwzcvYNlAxyOxavmFDumLDg2DJnmfJKft0d1j1FXaROD8a8qLHWW0PcJK1VHDoTNh9XW70opAL4V+Ts8UgfmXdPesvBKiTbKQ2VHUs5z13I8eFsk0OTh1paLUIfaqTtvw3XZqIY39sd+czJiscT2RHvYWvNZw174ttOIVHar0QZOH0hHFjvoE1T7uEAvJKakxufASJSQpS+MHTs+1/gzlGJ/X6UxZBysjBIX6gI412KXqoGkzXIjkXeFKeDuvf7+eFal1czLzJh3en78l5YS8JMA0CNL9AJ6Vi90Pu3Wp30sCtq/3zmUY+R9uCWGFGC9gkNt9GKMymMxkdm9c6lwd49SycnBD2nD6yPaLocCH2sN0SsfQviGFcQ4DavQiB7z1AyVkRF0lbGHjff0BrTuM6/rji+z2kFDjjmMYfZZNG6ukGd6MrUeePiHq9UCiZzPRckQ6Rh8C50C4wcOmJ+3qgg5/i+LUhwS7YApQg7svU22zZnNlacxsS8H50u07JsggeApa/zkMGMtTDVZ8fQFBe57iYFLrv6a+PX/l15DkUx9CEBqE3VjseeEzBaLahgT4np5FuLo5k6xwNsbqA21wQkED9J/a7AgIAvaS0dFndcGuBv0nG0BuXaTvQMJ91LEMWybLmGTCj9eXDMnTXYAl4pUGK8MDflmrH/9dk0Biia5EGAtQh2Nywp8o16kKO9ADK7nf6Xlx6zvX5OgHVuKQkvfSa/2ykW6tLS1npCj1UjCzi2V8sLa4ApGGPCLmijxfsgXTgH21apbyJ8xPkDy5J+mLUJ+dwclmIiRvaj0hDgff9nSQFJuD1J3fU09F7mWns1u5xD+bmXy7o/OUoqbvgCvA5Pd5p2udUmTk5GoMxC11z/JPJcRqJVVf/kA3eyU3HPeg9ksjJw60daZR2q5peWcHXKioW9fp42iFNTPvBEhbeXbjwZy88VMsZoPneKMJJlTKEx2JKTJjJCRM3jSjCQOKtj45uyXeDOOUyIWDRMkV9z3T+Ao7nwR5phx+LafDgg7vmkAn/HfPzc2dKuu6m5ZVu8EmNTfMWY86y0kgxN4/hlEw5IXgaArhmYp1MK0vsNyS8Ca3cm5mtP7dhDUFCpBkYSmTgjotsqAkfBXYUq1LwTl2jo4ok36exxQAdZU0V5jxCcZz0/sfUuzJ2/xONvFHIs6IITlNl+UIY8RLUInfVpxVx5yt7DzD5148Wnb9mdS9DVMF/UmfgXme1OXUc2i9htUCD2d0mmsGvhBAme7a0vq/FTSTzaQmiChYeIT7qfeoCTjAkImW+mIVo4o+0Chx3u98p/w5tWiMQ1/t6SQdrthCqv4/WFgfqnMXxFtyf0JL4oRPoDOXX+CJebNSPfGJB00+9C/T9K4W+QqPWRbTThC0NOqIYhUcbyJD3M7SYr82I3vTh1GLFSz2o+jw9e0+kWM2QYXpwSp+dvQ4vWjaGloFQx6KwA7LtyzUQ/YRs/ROnLtHFKHbRWr7FoxiEvd/jk3B7+oOlb5j9B7CWQiki/ER+/d+UUqTt11wYTrCGwNvjxsaOUq0h7Pr7Yg9OOteOtIDOFOPLd5Kz/eW2e6ud9TcZykv2AS4poqNlkWF/RBI2vtN89873ymxnY+kd802KnGVQbgTR0OCqnxYck6hDsvlvNTidkVvGK4aE90M4l0po4P6l0vIvz4D+c7Ir6BiMM4ROIFGVhxhUHsvhz9Qi3+U4OKEt7JujVJWQ6C+A8m+L8eUvaTooH8XYXQ7o/LGwHP76LC8+Ydyh31p9H/VtwOvdJyWT15WLIVhrLssup+Tx0O8F2KfDowBnFLP2t7fziRVuKHVxhNPSlPiAFiRPLIfB64zuCm83AheK2c7XXcyvWf5sLZVeB7Lprby+E6gN1yTwRM9ljDBaF4hpzC7bDvtq7do104e8pHvU5cA2SzkEsMLZMi/QeAkFVg68LV3jqegjeDghE5JMsPPdo+6tQE1lmZK5hTo4stGu59yxdNtfDP4TqpfWzCWH1PdSHTPg2tdKH8Wz3CihqKogdMsi5xnnP4acMkm5PMETG/xb8+lRpIX0TNenN8vCKZbZ3e6k+bpQ/AGHxPSctgGXzcWzfC9fG9q82tAWSyldh9S/gjf5zKe0YHETA9ylvC2caMMsoQTZtdvjT7vxbACINaYO13m4vCSn32TdYusOJdkj34NBTpFAAn4ZPrxrW6pPAnWoEfYJ3i61D+IL3pUiSHNHik4Y5B2tWce0JOOxZOlk2sbKxo94xGi6GIbEXJGTm4dLhToKLJ4vMvqJf6+RFhawG6xoRcUusV6ryzFl4wKOB7wej6No2x7cSIc72hPjnAnIY1TcUO2Xpm1nkwHNJg/EnQsSwMScnjwrMIj2B/SdmArJPEx2KTscppwf2Qio1kUOXOUVno6c5omPekRN01cEU/R3QFlcOEsgyptjhfDqsV1QwXRweHWYdW3GBpq0provzBgo2wLGjY3z2EeNzRHP6CJQ+MdQp8qup3aZmqjn9H1UOzvkkKu+H/Be3wZXVsK2qfIf/+HS9/kLFOG1qDYMSK/YOSRmyA+DnEBTracgEGAHcuwc4nVl2JsVtRW7M/M9sD5LeyxNa8X492HcOm5Urt8dOjhxiymGCe27zZSGMNyhUsSovqk+v1geDOPgZLWUDrLF6Q4Uf1GJIJVR65X+aJVT4kZxnGaFT53VZm5hmCNQxanFRJU1ZSlGT6qM4A9CP8D7XdPYI2FBl+dBpSuU+VKPK27iu2OIJuteU4kQeTDq7hPyKttM7MDWuv26DzW6TB/8tWh9Bd5vjb6bZlB8tHH9NpKrJvRBDpQ3PrHadjthLHfbJ7zi4LS2OMvq/DBR0spciitNExR8koftbI3uwdKDZYNCT0hjJM4UhnYS4dCc4Brrlp91lv1rLOKLqJZSAJnKo8Wk/WHibTOB+IzV1mMDQFRHNjKVkbLSfQINtb8dlZH7XLGW1tUUAwjm4hmjrW5ZirDjMEL4g1BD1cJ1B/0diYcPNtUDZbeCXJLz0QfgCmQW5dfhAOcnS5A6N4KeAPRiw5HOYReK3NXpVhEGrMX/gMYB1XSyRucTNG/wn0g2pZ4v8yQBs5KqC2rpfnwivYdjrnWUhlAs8UXRMx4v87KF6kIUazRJHSnx/sWzXTNBbsETWWbrvQVQh9OJEZXvu3eUpy6FkvZ+/kq1PkWPTkT+cHY6cHQsHtsVq4zWzl9w5mA+Zj4aeg0TE+B+Pfso6nuFk0wvu/a5PWIoaW2wQ5uRosGuiRjBe4NxMTpHgYD5HTD1y/wBxmTEqxg12rnMPPnc2HS2O4SDA3iQMfysDcDbFp8Y027s2curXtaseP4zVi61r85u0n1dsd7MbBM0EHEmvM3PmqC3LBN4twHN9IZAMtlH/Vwa0cGKHeQjqbi/hN9POxfLPbieV3xN9i1svGlKWJFwzxcfKe/fM6g9HDb9KlSG427JZLA3UjGVwGg9PL+DHxEFrx3JzPiEtFlmqqQEhSeQoesRt4vRTgMv8wXTEMdIdHYg+Yd6E+ZSEudEe31wMp/lB9JgFWLOxjv2yZwCul91iM7YeA8Khfw+U9sHcDrBPdFWPJKKWlaCWKai1YSME2hOJBd7ZhIlKe+C7M1JrjEFPgrBxX59Y9EFHKdeS0WBzakileXh9Z5PJl7DiBeLGRyHBf8WSIZ+Zoq5wbc6Nvu7l/sqpVJWMkULSiPLHyzor6msLI05oaNm4TZYGVSBfU7RDF+P7EAPGhZJtp0Dp/3BO3T7zDzcOLwG/tozFoHhV1189Xr3IBuzCaGLG3H0DTW/IxuYB3JiBPQAl2yOOvdjcNSrejM7uxSqYQ9sHFR7wIJUwaid+1VvgtPceHmy8ad6w+j8vdYbw+lFIL+a4kfsZqQYsSF5TeM0R483pyJnWp9pG7v5KiynNBGKNX8TI7x7wVdfOayWCbCE1YiEkTUE2KflhreU5F3fDpgKZXswxfrBlb5ByGbbdyXL/R6cYPS3IYkhOlJNao402rYMUDN7usVYuEYWYpa4L7+dgalIRBhel54o+u6Moq0B1ltrMHXGFB+AtAbOBze+DKEUB611YanypBku83iPfjbSb2Agrdc7ZL823Eze31ZGIVZjWwWuoRX7FV0BNdU8KTX5S41ec7ODpw8CFN6I7PtGvxihcqM+odb3t6LJ386nwczmg5wxjN3Zu7ZrT2wDZ4T/G5T0ttQleX4HVPR5PTevcvs4PyrPKTzErlFFtDb41OnwHBQHYkXLjv/+kf8HsZaPYLPRtMtKc6zZV1+oX2K3o2U4UsRvKgfi1dgDCduxACdW0pkRtPhIrM7CyfsTyqSWdmXhQk2Nx+jEb7nMValzcAY9k21y7qvCcx+EidF0VceLPpl2fEMS2pCId7NQPdkzgSjm1HmCJ+CnqAa0rOw8UKQonja//uS9c2ueqKmXEqOAMPH7DxW5ChpZ1DLkpVo4ZGj838uP2+odIMx9QWGDVh8xMkaORM1N8csDj+ABdTA+sl/ZzJSGgQaYs5doWnxx+BD2N6DFsQ8ozkNE/YcoVKe/cKn/JOCzaVujrD6SVtdwZK0/NusLJOp5kIgm2GT0eOzwd3+O0evSpo6foTVNX7FH3gWbjXWjOXxrDt5W6HxbnOc1qLC0aLV9LzMh2aQaVddRmybz9ABy0LZMa0kNwAWsJ+7h3WpaBN5DDsIWlHNcRSx71t6tgLi2Fmm5xXAIRqhfA1epLYN5INtHLZykDrOOrh/6VuWKtk3E4QmSTCdRpp6Wwta6G6be0rw6N83FVhE+u8R8OWRVW1wAXoLFZjuYH6OzFJMJ7/+YxFd42OeV20V2V2Zst5gl6x+JKWagbVuTg6Luzb8v9VhC40rqKY8JyHYG1pM5C6fSKNeUHCKHhHGviKqRjg3/dyxUBqfb5FHBOw75JdnmAqYQTsX9aPFOwIG6OoTYRhZ6u43UjybMYwT2EusU6GhDm+QKMavrf9kI+6lzBYfKKGVgkvUCq5GRE21St367cOVWxg5kYqj2lPV1U49HzSft5p2WvfBI5lxTNwFYE+zfFDqhFX0NVekH29NgpiQACF5BULExOhl9/8/AzwgU4jBlwqkfX35UBMzGORpsG9v/pU9xvPhThOArApAN0PHS5AvRAO/uR+KbmpdUjvS0X+rzJ4N5BqsFWr07XkvovnuplUP/AZWWqDBeSuRbsMqq5UfxGgLkkVaK/K0PgbihYx7MB80F+pWVDCjcw4t5ZXPBQPPpxxRXiCLsBFtI2JWzf6XP8QAqHvRTx2s7SBjhPMy8C9c9dYD92KKBQfZ7CHSWa/mxGB5YQKWphvLykkGxlYC3pMdcSUi3mQSu6S6yFG592o9xB7E4nxHxlQmWeBK+OHl/2NXy7s6MCR+ykXjMoZgIaNEL3lcaLYeldAC5ilz86w/FVHNBjBepk7v99ZGlU6euj293qtuUodXqYYaG1h+wJHn5bEi7y6NivtIvIDvuiQIbFTVtXIOM4VUYa0kfUpa1OYPHgR21EXBaHEjNtcNgfspI8qIqNGD1tvTkhn4S+/uTx3I1aRiLRpdThhFjzScTEpiayzkdIBvPWz69m5RMZ9k9dNilU/I3Wr4kkztjW7E35/vzukJRCboaoeYmvCTADjqhCIHe3y9CzhQAuwcS9OPJk1EO17b+7VLUYP7wWumg7VL/wyUzT6Fi7XkD1Ut1q2Sq2vNP8tmBz0MyXhcHQan/1//1cfTlYIlAMcGhzAHkv74uYBcT4T192+KmOAbddWnfmsz9vMYiHuK+ZDQyX9AWPZBuBemy6edOsjJLtVUmzuIEWL4WSJbDGXre+S2r8BMIr/aozBzmFNvVb6X6VYm/cgC3lOKx2Oy6FQuJbn2Av4vSKHeD8s16d24AIphgYZL6i6iQaaPtRjD7EB//tn7XQo2lRTIsw10jq5qVr2dmeeisXjRv6aCCkep6k1HiEtsnaFLsV7MzTxiB5dVcerIqj0U1wjtB/6QyTSzKfX+7HvS2+uV95jEkJ2SERO1GEWA+SwMAgN2KpCQQiOwmICeuXbWO3LUJaYlT+TZrtafWxQQVHd2PeoiE6kW7rrGNjwJwgahQeLJn0w+kDb/dhtB2QPag9s4j+MNzy1tS5K1TekTKxC4ZK+rlqBV6um9QHrTX14dkVz4DfLdRjWB+PSZgdqLmiVu2UnhTHw/GJ+xT67JIj4EQlslrqK/SVJdTsMgw8uxjSehLeY3Co4EYfO9VdZHx7rInZbdavxpuCaXvUlxs7+niEkF3sYfV3AJF/UAhBzMaUxbP0cO5UYDzEedbhmZKpLKUrw9T6LR6A98cONBOlJOppmir3ixAHePdORuf7Wp3BhmpaaiXM3KgxYsfgzziJm55fau9rONpH+4I7lzN93M6LgGs2BvmEHB7I8zsLkg6ooTadRSOjmXwHkJrvo/levm3VxN/MvCuE+QyulUtoV24l9kwphlk2fu/m7jIprC6gneEelZ1s3JuA3xhc3X4uOv9zuB92Fpv+02v+1PkHq93lPVaillxGYmji7shjLlzwQPXx+zzkM5qXeHOKA/mCaffYpRfD6i3IcygyT5zV1POjCwWnXLnHXq0NIUTls1imZ4udZAQuiarzCuE54Ro9PXxfZr10rMV7WTIxr36m98tiddM87+yNNKc66AidDQE752PAptUmHF7O0DsUbbF6YzgFIGLAvjgiYcaL0qaArvDrAqItdBNd4gdlczOZSxxA8CvNqJMHZhdBp/K5C8HicSQEcefn5FhEIiFmzN/rnGiWhowSFtc3SHrvg96qKuuNsnKaYqYb+XXuqUjnZPGHjtYdnvILfCWPWQi62gxjXGi6a3/XhXcsLQjReYR4IKTS7nXJ+hxmylBITbpKnL/+yOEth7S2W2jOHHfBg5kzCYfeGaLt/7s9pL9l25OodiBdL9sU4evdycS2nwdHO/Rcu98LW9sX2lthwirLkX8MRM8TT2a4nGCIpnvXMmDynEyt1h5TQsyZOBy73gDxLkE1ssfhbw+WtgYH9k+nYIusgQjeojmBQkyoj3/qhaWL6UpQBYLBS+m42/3nV4/OC6Z73flIFey4VbBC0h4R2R1053dIqz8keRe8XbMtrnF70mFgjBLLPmNVOU4XPNW6sFeQ2v2sQ+ssdDTI7TV7rIgr2/zEsMGSs2V31Oh5DBAHMA0FqTEkXAraUaFrMdmWSQ77CM2ySLgY82upX5gCNIY1EwbZgc2rud+ODP6POhUAiGlfCwPEemF7s2X15rHKD1W7ITI+Obhn3libYGWp3fA05Fgo1cgbZ8uqrPpqezVdR5Nob4OPI4og6hGbfmgJUFP8cbxxwSI/2aIOct+PTq45ubeiuqKm4hxeyq/viZ2rSjwbPU3OEA2VJbaZ2q2dtt5SWMW9OcsDkE7X5lGnaVCxBqaMJDHaBkU7dclhEqVSmKzt/7sE0Y6T9XfHTOyW1aaNRRcjDWXYBGXLzQjz/ndnLHaYDza8Rj1/tPbx1rXUQYEjXpPeQTDbTlMJGc8yCiHUlJc+vu6gc9EaX2rULFu4YCwhJKqZnLz1RYDwnU0vL1eUp6YAKkDYFX8loQDvLkkeuXzy5UEzPR4SfyGyxV+I180e+gJrMjV73N10888dRkmySdkTlPvWzJ1lbWoqd2mtqhB+w8xRUCa0fW66Q8r9A91STjuoy2QlnQPNPCZ88u+LA0RaZwrzMwGb8C+jR+CNQt3lzQSOtqOsEg7kjMDUsCnZg0hdm3MI3XsapIKBqrOsCM0IYDZD6yPy8R8AERF4wvMtmuw+EX2NAqWat8PGb9vJFam6d+3R6zNAsSJZa9du56KhObTMJbrnhPH1hNgpxn6/xxMvfLagBCy/vt9Chv1SsnwURyOXMgihBncLyGRxPn1jj32A0EVRYNCufteHa2Ai6bQ4atncevjA6/CYIxPyXE05y94CkfBrCUFZJvo2IDmgEXAnRSL4GxXErj4VNl0I09E4z9ly4UMxsg/Q4fbYoHJtDRIhfweQGgpBV9Jr4SmRWaZPARdQxDpfEnaTQllkFesQTxJI6IJdzEMsYA+qmME7mvMbR6Lp441hi9J7A2fLV3cAV7N53fmnuw15Ta4so4AdcjfWRecbt5ZYOvDOcjEI1rKkwVyuwJ8wFFzTNPdbTI/hLLfKxG4MF5F4f0tsel7jOjKBOOpcli/vc3pfbVlEEe2tHWNhRJc8lB60uQCPe4vhgmJktWgrIHG28NOBrEJta7b6IFbrPogov7WWZdI2VokK6eST9S0rn7Z+Slzsdxoz7O0JzOjpQHw+iO2+s1K70hov09Oh0/oo1IRM+gT8OT3xfnd3VagKmF6uWn8Z5ZEiZZIheo9zQG1RFk8qk5Erz5rY9lOEac2RPC2m+FB4YS/z1VoqL4oR5nJ6j9kdGWdyPaCm0IBaoJuabOCIHNO4hbZfnPqbAkRbtv93Zek4kUnqwt+DUufgxLZ+JvTknndN36iB6ZNDdk7ZVb+mfC8ajfLKl8n6ebj0tll0E1+mWH1Q4wRMg1SZcrB94svLYsBvBOOPPRcVtUKHWfftpOV95k5UZXBWNoXSCqJXCuyc5jo9Dd9p/5zv5U4Wr9W9Pr4cY0o2n9qsI7+Ls0b6doigiPM1rje57Ae7RLtygys5Ft0kyIB7TUc39o93Qd468vD5fmsxkVd+yNZ1IBwdisw2lNaxA0vj0jLOCGNvnteqNI6mT3K/pPxR+x0gwr9lrXmg/PPVy5iHVAeDfeN6Q2Sve7EjG3fmslM5HWuYch7I9ZBS0qWlx4ThRMoOhtInp688LyLkiMkBHG1WGU9ge7KK0XlEK+dmyKWGPYw3H0bIHMtOkHSmiKISk/8uvWjMZIQBkBdn+ZoKdXM6ib3MQKDHf+fG9t5S7ZXEh610A5rjvO70MZwSNx1KJptPdUkokLvvTxQls0RdGzmx3rCc4/b3Uxckzet/lcGRGEgpzIg5f3GraIL8qCW99RYwwTuHGaMW0zXG2g0m6ct3YuAONVLBQkQDb85A1bMKJ+BAWUGlwMeNEVF1TZEbZ94c0FxkfvNLj86Ol5lLtrKfYAcgFPUFsrP7xB9JoSN5JATuFtmKArA+X7lL+Xv/CaILTtlmOYvx4fVL6R2KwY2C6HXjGJov8m+rtBBCLGTOeOxRPwgCe8JgslC6Wok78U0CLm8vhv/hN1hh820dJN0ozCCZ/e9fWkfpthQhZbpqieVye0On4XF7BkhP/KBBbuaMlE6sIZMe1pPDBpNJq5Yd0hoDmJQl5NPH7+c0nvodkfnKEH8mKL4w12k1UEglssiRF3cMn4biz3ctB4rP390rB/JTx3L9Je/SZrAw/6Y9vISTqUxEE5Am6DmCYosKx+UYvcY88ftyXSrNqr51QtCZ+ekSfwoVwnStztDA6I2Dg20pEU69qykG4UaIZI6UitAZ4ba41pIB/nBO2FmAreP5jwJgG+3CBSmE98DQLRfchkOYKukgha3pJ0TovNrovMCLQQX13fxLu0oatWnkBHrctwIVSYdccz2J6bayWiYG7Wlgey+uXpGR0BuSXNxnVD86k66Y6Sa+gQe4sPBzva2DIs3A11dEIzimrwUyAVltEo5YoW3rrmW3Zkp/MkHf+syUgFOfWMJbPkq2Y0HXESrUlR8WCXC8DCayJ9QPAANxIJPhlTXjrricgqexb+ePK4N8JeJa4m5J3oMmY82Yci0fqgSNnhmrpjB/CUnihXkDmrBrtVCq2oG9sk0Ldujs7pCnf0d49+SJu++zVDCf1Fk83BvfcJc3RhQ+5YhJWprnnJ0qRcetDkodrfDZnAo3vD4HJRdTUiFoPrSGb5npPpdQbdFnJ3JX2lNTiMKRQCM0xjr15Drn6K/tH8/z6iHG9V5f27pcv1722TGWFToxbM8dSpGgKnNTPa8OxvlQOIDbCEQKqOypJEQhSeEmhReHVToCzDYQ5hx+S1LOTpTZOfc210pHujbMNiskHQ1m4yktyFSE8001irC5T66G34gFH768qR+3byfSq/t4/Z8tx7dzQAsATqf6xZ9f34LjklbtW4Ko5v6q+8zEBxRUfktZwyqpBZZDeuKPkqC2T0lB5/3Ig0Cpdoz1iOYMW337OSqeX8GAxZq+giOsArAFh3lJ05CIZ2RSUZGSJCC6B4M7tq7xF+tPyzlS6t4HJDYJKTGG+EoWuS7nZVX1NXZCFaCVnnx33Wp9TrhcMN1gLKZadzgg5iEAeEcXtrzSEKFUe030NOaYmZBl+3NlzrHoplE4Yp7TmsvXQ0dKUSMEM1gDfORH/U+9KkWZ5cd3L5ChL6l6byB/cNJo3z1c0NCPnAqnV4BS6pKEqlNjURdysU7fVbh3F181vIQOjCF7CSad7gMJuE+7xyxS/AMVUGOp1Y/xzakOk8ZL/Bwm/taO7p7dux7ykB06C8rjpX2EjFuNkAMgpFr5VE6FWJwR3lf+uN6crKCfdF3v+0YCCb/E8UC2hW6VkmGDFie+hVNEpXiRd4FamzbFRV89flCkBjx6x7kp4Z8/kLZCPIDUl4iXUWTg13frr17YRZn+tQLhIH/VSvPwmQ509HC9k8AenOb95NpwwVUbvSvtbGy6B+Om7vM632KBog8pEgyZH59/+bejzmUz9ejF8MUtE6/nDKvJzBAFM/y7mkwlltGnpmyMli9qxyRB5W5CorQiMY+rNkwOzPLKKTtWGZ5SEytspdxc48B1SWnuO60pQdT7Q3RM9McjELOfvZWdV9tDUIHX+UMamAz/ESsJpPxpw0bD8mtgmlAOk3f5YeGO2drt8f3kUT8Dxd/Fqr67z6jvq1+PtfmF/tFLvH8tCdakUaBzyaL7qUKnPs3OYpf6TCw1Y3l3cK/+UHgffry2bC5LuwlICGCSeQJgbwVqB4TlApvmJQy+0HU6hVfB/VwvK8lifny0F7NSQ9vXCsmlZY4rNEteZu+uepsADNHM/sL5mFnmTP2SIBLlNzE+JpaExozDiddu9F1Xzdc/R5RmNiRLDrsF0JITIng7D+P+N9KV/XfHCBzmyqWDlnpBPeoi2r7NXQwaFaqM96qvbVTdRIcgqlpD6RIQAcXPooNu5Mk3SnLMPpVeeuIAsGBrGYwA+AQscUel4+gggHnEtJpcBDeOyNWBvCtbz38zg37FHmH2GUw3GdGtRx+L/Usfpkz2yn8bKWhG/AlMGv0UjomfraZFMCJywTXvmsjmVvGX0dlr6kg9codty7RlAFOF+UwzRvKPxZO6Wm1Hb47/+hxVGyjM4r/ULwtC+s2tnKQEOWSbIokKhAx0uyk8RYGg+AlC/3zkCHpslTCYBw1L8ZLoTIcc8kKa2X5WHSkj0DyS0iHKgfV2HX/MOinQgQgZfnbfbCTyoTW/aUdzSYzToyUWu+/O7Qodc1l54jBvJ7bnF+E+mHpIqldRK9ZRKN8G+Mi/n2j4tHLbSYbtXRDsPoGdYgHWlFJw3cCwzjcUNG77ukjSN77Odl7Ei4ib0EQq0CwNtE3o16H/SodK/xiBj0q6llvDx8Mgdoc18sgpyj+J0jUmgY8fJSUSazyoWbvdflIVrurxPp3+6adKu9KaSJa4zG4/iah8iv/fOhVB10XYTlHMk6kcQvtPSoAcW2M6D5Ijc5y5cbpdT6/3An8MNiftdBmV/Ml5tRzqesXb26LIL2RPlajYPb5JGEdCwOrwcT29Y/uhC9d6NmznRmjaJ+BpaCRUDIiujJXaN2ERe0+b9h8JoMH5ga3oXxBt5VcGTAMNn18krT3rDgJaA16o8ditKjiVBuF3tCN7WN+lIrT0+utGZqaYv9PNtx/kGGNRSdU8xyQtI6xFAffOYP4D19bwTlqVe3w0UdJYbBbgipdQ307cZmhNg/V668QH5c8q3GmTwEaz6TVKlUt2jIpy93rtyTrh/c0lk8WLsUzB4woKQxWBDZ9pZob7+7OpE5ofFvL2tvAN6T+HW5zQTad0G6iB7soTY/Lhoyz+jggOqDU/RYgBO2Uh4bkPv2t5D9JImyGi4jn2KLrIioZPoqdzVHEDfXK5ndMNRPrgUBxUuxpexetSvbht1RbB8OzPL9AMvjFip+stTulB95mUz1I4pksAmBWsgKfPr9c0zCP55ULnvUeMeS997VNd+fKDaDfHYPVc0tV69juxXyErYTTMIG58HFJ7cK+dW618uNf+qNpzV0KELRA5OXByJu7vrTCp3Fe9pCT32YC+73x1FljK2ly87IFHgWOqJ88sGj8sV11deLmXzqG34deTGqB7Te9kVIgDHfYfJRR/9uBUyuzGtBCGYfI1V3hy/4G3HvYMNaG3LygXplsrdz4QwlbqfCj1mxmH5sj54xFkhHAeYuVsAQts+5scJVDbvD7HbmscK7/X44aVna/nqp5s8rdUqupKxu/ITHEMrdncpSFvlTUdBQ418sbnAqhrieYEyw/NEZfnezt5UwR6jqToLOpIsdiWYDgIxzSgJ8M6IFVKckqb2MDx8A9Zx1R+HPc+q5CNUkllsmh4IRY2qI3V5+ec7IBAA24OvdQ+IV76AQslUxqhF99Cb2B5D0OS4GWhqYyWcBmTGB3yHWYdkw2eIGArtn/ZYWgzzZhpzBmACgnBddfkxuIIbAKoVhWW9l3qW6WuoRIQvuz5oHdxtHlVlzwpesm35R7wgMQKsxLHTfO09AtG3gXWRZXSEKS5hGnm+/m8W150p0RZPs+D/zHW28bmt3mQMkiIhWs/MbE4cTvwu1NFOjhwNNraRYdog4By1Mpgk1WATqODR7dvTRvyTxApzkaIn3m0/UNImLwftF3UEFgNs7zkzuUFwJyS8366mTLWBlf1q4hYasPCd+ccTmDr3mm+R9nxQmwXMXw9Oi7RctGF1miJdSZJl4/7wj/6ARn+LI0CkoMsYfqdHAW/m0YVTyJm63z6YzG8Wd37X9zltARtLaNSITBb74bMzxrTnEVIzikdozaQ/E1eXgbzMvfrfdqSF227yucNafVFOjOhsmV03ldkLGFKZY6blWhHWyqep2poqLjLfbs92laumC7nOM9IrFCYiWuoVVT5RYX1MAdg3BF8i5aOxV/AYC3YhBBmX7ow6W1HdgCORZjTKQB/1F6cMV4I3D/w/vRaE9oE6bmRFLrhYpnfPsVc6GpgYlTJVAF8spdv01HgYaLcm39K1xjCrt+rlwdZsxNcO7S0cFl3VO9F2SBWMs+MYAvLRH3CtmLMfozP3duFytY1AyHEAQ4hX2nICIIZkNaxHVeHOpLK884eJBjbSKI5J+Z2qJocI0V+4itFsX+Qi28rVwCcqhPxeJdwSWtNqvTtmXRD996IYjYZW6NUJMdzp2sTlQhGWSKicnYlK70UOyUst6+gvTHrT/rqJ/9RtEcJa9fN8dz04jTjXAcmkdzffOGGEY7HG3lTAC+HquUjBMB3D4Uq4DrxtZCEd8LmY61GJMC8yDeonp8Zx1XCPqxzXNZauSe16MXOv2t9hTeWYcLXwjvC7PhxkC4UJtnj8TA8xRiw5KD2sHNn9QNK5XJQJuDSmiBTvhIRetEmZ78+JpaBTTrc9G+iLlviQ7MG8Hfc//whTejOsSIzSM/fbJMNtM+NDM32KFeURRimfxm2uTzrvIyT/6+VETl4FppYb2SCIRM9dnzFLiFVqd/ZzQV1EgxX+c+XDCrHtKEJf6E8zL5/2lTykDg/lQWPot1TExhj0TsqUZudT+V+qlOP7WCdNpE7CDEnuFg2eVOndkn7n0uUKKDQBb4EsB0G+8OWcVvCtEOoppPTgDOOunNhoC1X3fhQdNESvWsRqyZSD/hQqUNo81DdmVzWFhf8Khu0lVLjQpPZIx2f2dJXQ3l7dWROe5eE2bD6hImexzcC0E0Dyhh8rAiy6AWzlzfoIOgT1RgAF5WcCuQbTGicWlLUtnAR7eo0u+koOFLcfiYrH9eAeeG5KBG0uVUjWyXqp9PVcCI75WGbTj3AdJL5PktxYUvRbvVk3mLIcjYqS/m51k7ZDlxIdcTdM5glV81etZyJ6OJAbG32p+rQuI9es2k2HU3XAyM142SzCzrOTs7opcmI7DwGT+qD/m8sKTu4scG3Rcv5gr83VeN+kAI1iCc7d2aAFFRqlMHiNnvOKlRTMAPzAiwh+WrYEPETDJR8HJ70c1w3XtAMfgKmdrfZD2juERvfhqLWWqPdw7uvUCZNIORd5AvruUBvgU+vAcroZ2sh6FbBQezCFeoxw59HseP87G9WXuIwvVJr6cqcDbzQQ/PMdnVWqxPiJqhgYkYptNIYr4EJ0NhubVrEXpPoqrDOClk3t52ykxiWS14uNWUktBBpsYMH+vRqyx6DHRKfVzv7B4Qkjzb0CgktkBrnzHnr2AVU8cMei+FvFK4e31frST6+Z4Dpqqk9Z53BVKl9owQkeqnxTxTGYQVCH5AKAUkqdi6hm4vEWJd/OIhN+EB+MOksS3NWHAmW3OheSjzDaWkNmgMkjvlLpXyhzRwVrCXPnfzZVmY/PcA48ooYgRe1Efc7cRd+E7XvRbVate8ctNNSan3dN3byQLSqEPyEAqX+37htWbnyxiAvZ4z+ORPMvYe4O+gcLHCnSRjaznuhTrqslJbYFwOkOIJSjJ2wcFMdVMYC6kO/h5byNFBpQtcMh7z+R5rmIkEMHQu9VvdtM/kKR/SkZmCt+dXg4GfHUzdJ/ZxUUHzD6A59rSjfbVMMirFY9lZ6hYXwuggU4IKkQemIX0miCJZ05aPSOGkw79Bm9IYS27BRP4r3iE1v7KQa/k1+TQPzI9Ecc4to52kuYC8qa2XITx6oReTpnWBdwcBsstF0ReUOlAAcxmEMmsL96TESzS/2qf/7qq78uk403xIzpY6vhc1OcyjpsfO1x8iMUSnI8uQfXWdP3KMAo1pkoPxmgG9Q8wa8BV1kDn8/2ZOf8BYQFhDbVnW2e3eDVB14JTQpVrGuYqrFzJg44ZOGCrgHLUWH2m7vXWy3XwQjFSsRgwnrA2xwNm1aXtaRcQkS6w6sKPe63KzDrHAXPHCq2F4N7Zv271lESYhXg6GnERY6nrASMjJWhVcunJ/2A1A6ruxZUowUos6PCafxmjB2+7zKnTA6+zK7VVtexgLwv9WPdqiPU4INAEWttw4RMC3wNbiremGK35nv5c7IQZIQNcinwospgCx9b3I2954GvvfrYGFt0xWaB8TeTLPpxf5ecCAkWCkJ66Ue9gvafpnaC132Gqj4Zqsrb/PBF2rbuMkoWq5FpPvjKEtquJ+NIeNg4O8N8mObCbTfE88HgBpg3DGlNL1oiKGbSM3k9wQ3YOOAMt7PyOEkHpDBilx8RRpAKpjiyYqyaKUjq7jljf5xkOm1FxRGhL0NkGirSeoai4Jzb52bBtYTOkvTK+wV4k16ZFd7jeVFWORkdzUFTvZIUHsQZcdWvPRLgTrgzgYWY6e8ing6thmN1PQ9KW6lW4MeqCYCCxwa5cwPjZbnke9w86xoPNRgx0wSRi5UHRp69HS9e7+DUSp7Qg56B1xuF8YYUIXEz3LBje6Acv6XNElmWUIRvav/kUF1+l8T0KK3CTs3Lur+CppxHpLyND53fTrzaHZx6Pq95v2nB6GFO9D6W6dkXpXVuTtUWhKz5C82AFZc+AD1lMqpyzG16hAWw7oebgC5fyBPkRqJWD2SHQDI7RbC+MIOaafbxYQuFhEIIe/O1I6KZWt5+EhIaJk8+umrIVe+IUDckALCo7Ea3HHoz2NzrHHsecOEANVfvo7rPs+/ZPxamGOCwReyw/jFNFylEu8LnsrkNVBisbCs10LNKd8v9kfb3KZZDILiz2WehScmo5fEjOI22mF2O7lZhmlvt+LghUfdrQHItCLIp/9NhrLXBvjSIMQqJmtXgFAdc1svPD0XTobVlTTWjgK9rF+2YqFarCHNV5F9oeoFCz9ImgzrbZQC4Fi+6kLGLJqTOoPEmSf78FH93z6bITRm/dnZFJl86hM5tNyMWI4hU5FP19nOj39Wc8RFSyv4H5k58PFqojMreV/WBlSsP2bSCD2yvtZFaxZxCqAqu/pWeO5Yf0nXTrtclN1k8g6qn4k39SSZ755mOsKJgpVZuXGZTQeOrSQf2i2a2jydZiFiTd6bxApiUCyYKgRa7Zy9OREIcnomUFFTQvIfJW/3F0Ra4GDR4+grPJRMG5q9IHQrE4ZcxDrKDng2mPhgrsPB7c75ktqqnHYpHo9w2yW7AtqUeijeq4rrgoaLAboqKih1XhetrNI/goEAccxLegehDJv7OMZAHoKtRIvk3elh2HkO/EOGG8BgD3RNGRiqouc2OKHXynr/h1UWx1SdiQemqAG/mO4t924XfmaG0v18igRwFcb5SuNpsfKDY/Py49rw1nekqvR8drr8oqVcDHMveqTTPL1FE1lRQnCXrDdZ2LrT/M0ecROk14ix1txi6a4m5qJpKQQdnKydVrcUm1Ux"/>
  <p:tag name="MEKKOXMLTAG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aIDw8QZnT3KVLgIkmA4yGmZv1FadjQXCTFAni4MlrSgeEB830Ocnz3QWUlAgsrQXmFe+TF97PVKC5+NZFXD/nZwHiARfjsR6YJSXloaXG5J0kXKdyAJtWwsUf02/aSco2yJ+8XR8/0BmI05R8qBTIaAeK9qGXFxLZB+O4DBfVCdwMaP4yATQd1E2Oj2TyGBAGINWkKEt68J568lykZD0Abye7dgCQ6ICPwZIprFdggDlGVuO2BeKUHnUxOlWb/71PLV22MbBXfx/y37/fyOKEMdsZSY/lDZlF7P1y5P1QLNBEZqeOEHu3eiwB79w6dtOKT3/wz5Fstk61OHOVtoMZrG0WA3+kympnr86tphBNLms8S6JEHd5SClfSGuhmclXLt1BmwbCP44CUbNEuX8N1cfdy2ySJDhBlVMhPa9QYSIYX/wLfWKvh2f78xOtMEEjRNR6quP3glUQWQf/QTySHWKg4Ofxsg2Qq2t9nkk3ny+tx4I95xiXGK/AFNUY7H6kcuv4kOAUZOP8bjGHs5liESl/xdOsF07nSrw9Y5GU9O715h4uZEr7dAz8dNJPLa3ktWezSE2yxhfnWbTX6nqwLfiVRA1MIS5jEejANHxAjJhYHJCHXl96GZd6DavKTwDDMrq1maOSETfnZijgS0/VtSr+FbyRqlGMxN1UipvAl9wdr2YXf/w7RcVhrwLEBsMO/YhbvAuyuyGdBi8aYZIue+g1lfVinzjIUXQTyK+RacQaOAfRn0sE3cYbvRzAE3MCkOpBJYPo5oc4FEvnfpGmVgp8uv309pj2QQC5+HXJafhFDwK8EUkpJT+lDA/60NqspNk1eJtPuX6lF+pC3rGSb7GX0dPeXG57MJSE9FmL0UkgEoK1/wo6EEWDK2k4rYYlaA//onGvZwGZmFzgjnQVWXY+ico48706UWKcmaOBYsh1ZeO//0L7adruc914OepfmPay5gSF7ipVata6VgQqJR4vmeR96chgM4ZMCvdWkJibbTNlQ99CSR0HTVFEZjES6AThBfrlrzukuUWurNDewjGf0uW/mN7KeSTJobMso0KO3NwNEfVf54ALIOHYIZ80qJ4JJKbv0u7jiWt9XmxmHk5XWWpmT/3h2rXjQONF7t35u+hMgGdvhYa2BD908BHsfokfv8f68mimXLW8SG7PQguCVpzgLXcw9i8BnctIA3KbUsas8LNZkCmezM402SvX27Ri3R2CocQB3ADUJyXgzgyXjomF0X+gof2IBuUi+Bl/XqLRJiFWD6LFT4WGKpJNPDfXJ9zskvt1uTZoh4KS3sxQq6NRAf1mt12y2TcH48QJntaw8bXc41vpMya4829a36YlZLXSxUQCfpgfmT5HOb6gLpaK6NHZGqLHVqISq4Wcr0Mgawjtfq2o7kNOE5/gtuyhTIdGLRTPGdxwCE1f/9jeBbudYqWJWTtl9DuOue9Jcri+gTg1TKq2USf+VL2E2S5+3GzuRT9Jr5ZnzG/V9qP4S3cGBWnHsmbQT4voVWdZq9L2qYmvYL3yDSt0GKnO4UcDUVQv05wkuE9e9ThZEvmly3Wuj5X8hmfHu2tFHuNI6GWOFZVkEFc9X4mLi6MzaQcMmNUjEBCbqmTOwtqX+Bj0IZmKq66K2G22fkP2WipFpGd28CQEgky+5966DH5oY/a1N4fR62I1Cb/zVXGbDFKS6ycbVwQIa+v20skWZIXeCayijfY+pzH/IodgC2fcfP4sIS5RIcfCBa+RtbopvqFSyCfIyoPVhzcWih/xQLotm8V2DjTmU9hRshlqHHLikTUF9SBrTQlJvyI9VpGEuUQ9Jov2CRq8s1wgyCkUwpGtdOY0aP9T/4eRmoX8JH030VIvrjQRD5FEiIdAMRhCaHZ9ylMzzAV1BKdNyyKHos7kzzClrtgqL4ToKfV5kOYqh8QIm1hAjqvRaIyVp41+haUtBLlP40AidxQvfjC7Gg0uA0p6cpfParicVy+gOVV8nOcD/0gxm57ucxV/wP/XFn1iFSoz2+fY3+tW0ogXbw2MpVXQbxsQ+l2n2hDetF0T9H6XpvbmEQJwoLYrgxTM/VLOxpMnxQlNs3AYRI8s3TBovgl+WXJx8mbQ61Rk3QkwQRf/6BerD2IZ4JHz/4AQU4cQ/ThO3fLRNuckJ62dNzOtkm3eO2kvOhnHD4gKloND9TZ+sXe+REOSEzqkoKUsVLvrii4txC9IxccRp/J/B0V7FGgfw7FNt/FdfB3SN4MANH1jnbno4cDGhkNKnqAlr626PNO2F8T+o/UMUlBgbbIaULkHNFnwwFLqmBcTEwD25YRMZcXtaMnmiLlPCs7ZZQZV+3MBzGW6J57/SGHhTsF57Bd5Zof18FjbuTbWla88fnGGdGbw9TFW49LjrEmg1/DJo6aCDV+5UtHeg9YS7rWPQDghvkJlpXT0796FWCP3pQf4tFogG2PIFky4pp/Hya0U1/NGek0w/eN4Z1pe2dU5AI/WK0d92lE3USLzoeKrhNdGc1cBO6dvvoHkcA25cXMZhZfJazLflT+lgVsVcopKgFOJsQo1/GneWbeX7ErvB+CaYadR/dhUSIIplsg/4xNbWs++m6f+xpzgW860Yf9pnFq9+okaE+PMFlQY1nYHxgGWnrFfMoKDcnV8BzEzhg5gypwRDYXIFZqqsMGPPjiKYh9Gred23SRlY4zUpoANZJpoWPU4HOx+e7YrgdDfsZhyoPchP00pTi+mWvHCzH1lxCpGR+BtBPqhMeMDbddoR3VGp32Sk4Qls2xFyU0myIOTooE+nWlbagEpbiRBZGzdW9iJDxivWkpxvWhjWTFX/iB9/4hzS6Uq/eWSdE7CIiXuU863IFvtY5vlwokgenDzMjqQGbhKwIMDSmzyM7aWycXOW+P5xjDtsLLyS8Hvvarzx7MF0k2Puwi/eZOlotVrXT+LQQ0Xg2KSyE8mP3NRGeLm1T9fEflW/vYBtf3+md6R5LKmyHwi/kZ9gQSpqaQ1hk0g0wLVoBEk5IvtR9jT0Ov/UYagXjpSP0BLHzW0X/hgSvMSqKlKci8ZVR82nvpQ5twGk6gbqhbpLBTS7+EsmO1A+GmZeG4P9z0OjOd7riEoAikIeSk9ijrwqjYbMCodS+Boxh+HH1F/QRvQ7mzVInYQxmPy6mq7IrAKDUb8BNSVyhiU/xBZ9/qeLXHy+YPcYFDjY9Fn0yTxbdgNxKtV+fwa6DIlVBmSQrJ0pKmI3DsvukcKEIBxjmN+mZf7u+2RkFEIC5b5TInLfyAQpEwjHZolfz66yF7eTAd9cUkxqFOYv1PBYgeGa1m9ETWMWLCPey4zAy0TRMwc0XS02oAVXWEvoDxQXG+WYFtAfQ68oSOPrvLbAhQRPz6TOmzhrzgUVqZsVFOv2x3ZoPrJEV7pZUrSvayaDqOCsSrxekFEsSeyNf8sbSHxobNB+tbdMO8KRAgEqy/C/JcfOKmU1+WoICWqIcuSsURaWluea8fNq9jkI/srAcM1Z/3sYV5Tt7Kiz3O5TFXHRUvpXTR3/TfrnysUPO0RqKJfXbJUgy3x7nE+t893kThmd1VzvK2QsMRnL+qb+MOqZJu6PyU+xjk1EtE1nSWCVjNd6TDVshOUdPeDOR+ekjNd5LDb7XauGCgUFahkUww8Qo5colojcJLtpbMZ9Ge+m780b0py/0hfXnlTDeCgf0/OP339pZcBIpYixiTai6lkah/gxesFPKH6ZPyOJKTG+2CJkTvr9nytZ4KeyQzK8VMm32/55Qx/5t6Yg+RA960gPlhgSJUI0PhJTMsYmfHCGRSL+UOgntJnyWYrgWIlrKsT4AtAc1ToiNSBHmxj/8uN3u/jIW0iYy1rJoNpj3O5GvRdJ4TBqy/VkiSxiHypdxL9EEM223iXKEMXrdpocDxC3HA+oOJSZdlzjQKqXhWxsFBTI6NlQ3ttLyPrY0QA0kw2zd2DYtdbHWaWGVQIUrvw2Y0+gyO/pIEA8ecs1M43RQ12iwAm/3b952hanpbt0l6xt/UagDyXIS8gKsnL+yD0/yStKS0Xkxf1g5YnEKgoiI5cMdsfjaEDKqCubC7vexgIxdblbCcuWJG4rXD8fgYfWqMrTgRy/YF8ZJc5e6AFcT5QedX4HIlFTnorHI7EUW3PPUu2uQmf5JccwU32SJBZCyiDTtzn5zkr9VKmOvlSiZsN/an/tcTSxERRfJARLord1529CIMDZyd0OrJn68kL0bC83ITNx8jgO36Mbmont7pDNg2/YrQ0voPzwcYqoksFPKbiYelEOJQJblp4JY59VWqclnsGdRKWz+dEmAs9MuqXsh+ApvmxvTv+Ie2DdOciJg3q8eI9MoSp7p5kzNXb9Js5mKeiGOiIGIs19eeNhzKgwKsrZ0MoDzA3zYkOSZL+XOKIUEJ6OprLcFBECdLg/SF3+4kH7MVoDchuptQGZjMT+IhueZXrfacDbG9qA20TtMKYcQ98zDXxVQ9RUMPUR29NfPgPKX4vbjSFU21btq/hwqWiuy62u9VfiF+don+GJFj08qM7XJub6cjioVMBWcMNga3pO7oy3H706uhT0fIezRqIYr5MRGPpkkDFl45mKr4MYbHxXriwJY4Fh4APfH8guR+9PLEcIl1QKTvSjcVAs/DGjIt6cgPz0J0fV9XIeCQBP7rkoIlTmlFjf0Gl/ijEoqYsLk/a/5C1W2LMrmzRKlTFU6vnkGri9KYq4JIl3aYTuPUeZ0JPduu09fsEWtV5AKY8kOP6yf+15tZSLHfS0+FXzoKCFTUEYSQC51i2wg6iE6ltyEEgcawYgRffzdIEFluWh4QAs8OhKSvjtkmLIFe8wxED+Og05z/YxAOUJ9Nv3PecCLmaBBss0ubq9zTp3Z7NFbzLZNA8tBwv/cdEbnL0TTC5JM3sFKy46m7prqjBvVa/sP8B+TddAARVbCgdCBCuAVz4lfZz5ls775bP6fqdI1sUo+Qszp7JVB73xMyUnIKx7bCm5WY2IfqSTWUBIrUTvgI8CzGoJWFjpftjkSbax1KCrLMd7P5JYUPG7oCmpe7XlPeJ+LoA7fp8GWruXDwq8wrfUPY4wcm2qQG4bY/cqC+LTkA2UacgqD3Zv7PnOJh51zrXXBQjT5pqa8O0FuWkdvX0fmdjXYQ3DEXurUeLCBQP2Dg5qg8e9HAAkNABh3e8kRdS4AB+ucSRRbLIUWESWOE0Q9TcMwGPViEBy00J4NhD1zNQQ2xI6CYwmhKvcCpkAP5GfTzd96+FcUBlFcn4TCzf5/oomQpN27XGIcSBFgOirRJst39RC7kUJNdwg2Xx7ttJNj4XR42mmAsmh8DLsbHdNrIcMJSPPJqkSo1pZHV3BJkibyUk9FvdvfXXSmr0NWqCtAIHQ1VolgoRocmxF9fCQgBypw2FJJO4DsG5gYFYcBqXug/1TYDP+NurBwCrgBLQO4g+NPp/1cLdmt2oVYsPBKqTOx2pl4n9PyHXDkLTZcNZtLv6pDsYbKRzN0zUmCbBU8hkSbeBApbOBRaRKCiq7cPvfwk/VehaZOnjbXBJApTb9/GeL90Qy/yyNMYmtzYu0b3bA735idIU8yY/2nK3AdvW5DkvZB0l0OIKOPWH/WYGiWksNLfXVig8ray3my6Xdw3sBb1xflSYalpqPiJT0cgZffTTllQZgV7RBjpcg8h4oID6LvnZB4RkAtnfVjPJfI3ijI10zw5AlQkYCIP0POX468Ll1Aa6Fd5ezPBHURU13JtjNhdqYms+H7oqu+AL/OGsOvmhQ5XO4EbceDclHEXS9EMA/J9efIlcscKLX/umGgThC5UqvfEsjNTuuiprO4cXbKFLMj+e6QKaKLJYN65q0cGhAcXrEh3EXcof94VJIyDYC7dGF0mVjPab0E7iLmznGrTw5wLc9939ug1891/q4AkuFpYdk/V5RHWPJ4kaXbtqUpJskn82m5/wpWzVnyUNf+7iaogmAIYkP8mJCm+uR3mMrHjIoJE4vy1OYCPb8w5D1D6q6/ctZfFv1cYyMQ1H64dXwxZJhPA8B1mn75eKy9/DZJwZH6UPjDrUL9tognKLNx/+K92HMrxoRNPdj8zP9vCBuDAVD2LNExeIvMp7X5zxINhwOPruWM2YPqCWxKH48/AVxgANLhmQtsHIr9Xi3PRERKmWI0ILZzRGRu9fWOUnToMmdn0DZFl0CSnthnMYZg9ksHFi0+drLdUkJ6TqK8x9XbYT03CSkXqRVvdwxtPJvMpZaL+FCHSnUITSX9OLh84zceaCfs1+Zj2ttsNMm+FSFIYYYvtZ5GJmlPX1/UNxCNYU5gt9aZet1gs9ElJod2F5Ula58WDXDYbU09dbhg5yGB4waoMx7rKXfbF3yJSZc//gk1pgQM8bxTbAo5xp35ttZUOQ+WEes0Pew/Dh2c8S8P9mK1Sm21xTiTfZtwQGmbm7m+pMaKGPEqIwCvzZbtc78Fa1d7Xjr93WMlHcIJ5k26jhAjcuhIJ4MtPH1MA5sOjCxrV03IZowTM8SiGPh5Kvwh2Ya7/MFn/klsehlhaXrbeCf4RIJVJhe6qCyfUupzCvk6q0eZa54B7hkDAuBSYfDso5QA3Uj+hr3wJDLjXy6ECJQxpbr2XTbvqpR+l76oV/4747Qqu5uZsW1gsbeK16v97D0b3FMGEz1b+EfhlnjfJaPK1GD6iS5QIMh6vUIT6e3Qzy8+a6Q+hzwVsxN8mVYcy7EcxdKe+rXVL9cqvFL6BsdbzSF0pR6W0jsplza4jwg8U6r0xzBDyZCwGGqcdS4tuGFI8c5Pgr3Vvu5XN8wSkYEHm6t7hDKDY0BQKW70OxI6oqQg4RBGZRxIesQedkU36EQ+lTsz+SNgNKVNMi/rQaRf3EdnvmPsinns35nNQe+auAxsbW3jMyKb06i/8dD3n3ywCI7eN6RyBdsCohZek5FOgvSRxaZA4nom4N2NGi5J+eP9Eg+unYoEblS9PULZqaRzrZ9JQhUKS/xXIHZcrhUQOtOd9IcIdjZH0fVsxSIxTSLevUry4eQPY5KBcs9XtI71pKORxdl1mnUY3YHtyu50FufPZaSztFW/skgtDYIIzYrmXHxUfiY8JMY/CaOZJpxsnZRiQflErm4CSQNqy82zvmkxZdzQggyZLLniGlNVRpdcP1+d1oLQbCHo8xSYQpYOCWrCq5D61dxETVFbBbM32NZA2Dp4S48Yt8tvjUjyGjRGkYEvScvVDFtA4qTv6YifqXNOZry3yowD4Q6klQfdLokM+kw3isj17mONQbx9Dzth5X/u4VmIu4yXkEUcD8lOirsPL6BT0w4aIsjVjbCa91YADGk0YWYxAnH3yeh/JiIc5p0lS3staFJPqwOmp3SqZn7HpkeAlGjdN7GCvCN59Zj1MFeLhb772nsa3EiFvrKwThxAFFvHvn5KDthDTtKxAMKcrRZBSIFlHmE2/JOgvE2TILv0YmTv0jV8Kbft6HUoxvdxtQkEgibRhqJPPHtdBszVfsGDGvvdFS2r9Ewv6Dyo3+ER1BkmdrMLtVyMuEZ389BgLOMMUDzCHxsJcKz2hXXyp6jNufRV7V1ULJKT7/7s+1zZmcn7BEx50KXWskQFxp5ZCIQg73D4pBL84gBBd9h5ciiFDMyxUg3V0kC82FZ9+9HUOnomf9uP24hjEukA9u6v+oivTmZk51X4O0PU633TqiJ3WI3wwUi0ejYXodoNwXD7KEO60d8RGt28BPG/U8Xezg9Me6DK8bjNfEUSYUAOek635NVJoiKk4b3YAN+m9LAjmDncy6cjkppAwri9nHdP7EEmAtljLvm9rEVODKrhee9HlkAs03CCnTfmm8vrChe/3BPE4j/tCdczhPr2pXJDjLUTanarQb3dKgJR/h3gPXzkBpVHHYP9GzqFqnMWQ5H7aR+BjCBPZYu6ve/39BCfT4en0+l4wx4sXhrg07iEPWPrTGRsHUnIs+Pj6fRIOm3MUFPcgBA9WrwT1spmQekhB0joEUGMpKCOay2cWGLOso+oR4hWsEr5xNldFXEEW9iPsipIridYg1xIPNkdVOO38KpOASG1Nffswai69AvbliJP1OCPT+Bg9waq8X4syJ9os26w67pfaYJeu7YijCdIZOCb2qTzxJyj1Fa+63qeiIsy8PWd5ae5LC+H8DyOhew4JMneWXA6tgC6GhemvNlod30yIIwUksqHsmbc/ylY6KMimEzxRHQn41tW8Svaa42kgLk083yUqQrcZcsdypieJW3NIrYcysPPGkHapgZaxRi6SyglYQDRorIN5uPLElc/LG7u8bz9r5hlKTzWOsT4fCXOMcuYnTs+AIkxGb8/RqXOfnWDjt5XrmQlKsoHPwiOGhfGq3seWKXXCEWOQKTV5xF+5ieWFz9n7cM12Yt/9IgXvQoOqcggCmt2UZtDl5xjZoT/8ohrg/MsmS6hJ6ldJfsN30UXOVgOF1E3W6Sq36lgMa/usMBuCAY4XOyB+ZDKYbJVuJKAR6myOldvKBuLZ/bHoDueIsr1+mnnwk96WeERQ68uFvMVJFk4WHBhUlWn00IjliiICi506/IudF5UhQBaumVCGk1ZrzqgJa/38k7+Lf0x02AHV88mcHUN8CZQUS8CQP+vNJrOGesEhDGMLvj4ydaPvIgEsr1kgY2cfavVLygrYY27OSGkJnTm49b+zY0TGmCqDiUQavFzq9LIVp3jFZHeO9N6iIKY3QiJRtl4kXd4UgtHnjsiLWPg5dPowOqssC2TH7AbvO2/S5o/al5uw4eChS1/Obzgkm1/MRhGsD0yY/Xwit3SLncZqmXl7ZaA6FyItbC6QjdEdiufeibgZ7dXW3aGsrmExhZq/0Js8zVP5++JF54ZrfxXdHZzcUvuylK3Cur5zSiUuvnL7RXgnNu6W56ZWsXGwfF+V85ESYJpofrlWl8ngBOk+OUYSx4SiG0uV6xDb7pvmuBFfKe7FmtclT8QCh2vkWvgQkj4GTP7f/kyV/7j2m7711CQKtTiF/aJRfr6cszb0v0LSx9u/UScKjQNDFRKtHHjRcRzwd5AQGBVJT1tX9PeVho7eo6cdkYI2okbfHnCrZx77qCy5ZFWY8uOC4T5MzVSpuNBI3uNttMp1J/Ynh2Ahwql7nbxdfzTIS+4BYNlcKSPfZs7Dcm/WCNM35vWAR/4ld9JT7Chuik6xGbomQ+p5L3YN9Oc+jMboS9Ew7BBpTCmzs4bKxAKkyMmT0MNxF5VL6lBo3h4qwVYvJPUNOVk/UOIMpr2JrkiDYE0Ui4kRT4EujS1t1yA8zCqP9lYtKQ79Ef7tsHmiQ92PdEl6YSrLb0ht5U7IThAT9YBreePwtwGo8ycnJ54hB7i3g475Cv6m1o7RWaw6xHcaubS/Ddu4X0DeOou903LWa/AQU1BsLAllXX+STPGSeQJ+8qlKr3jj+ig6KuRcGdmFSRGTI9AYx9BobDeJdBmZScDNGHFzCTHrriJxexY/n0qtKKvRw//K8HlHB4aR8LtGLr5P2FZy6BIoSIr0X4S24qjGVlOvNAmpWRAsTH9xKYAFsWaF11ebGspFms1x/0YAcPPQlMGDsnZBXN97b7Ot3XLEY3Q/b24yEUxRqY3v8leUXXBNiFUwqAT5aCrfmyDZdD4q13yLMjJ3miM4wiM8uWqURID1wq6DJY5R+9wrB2FnPC8qDFhcZFVBxgl5SKA91cWQTuPm2wfCluiTVk5kdTcIBKh1Fs2wko+7QbinzI5zxKsHY8WxBbwo4FZqZOoEzi3xwlvXk8apXBnqRPc7H2inYYmDRvkz1rcIWfKo7CPbtAMH3qg35rOokWUa0z+TeItyKffa+i32SU/3i3GrnT2foinovrYpb4LMLpVfmE1DJlRPmbPzGwaur0zGCCZT9baTEbiH3hX7h8Xrx7h5rrV28WeJ2DXcGn+6JbdMBlS35gOjvs2G/F1brhS6lR6+syWIFb80GVTrXv0qNxfAFB3VFeacFSRCE26dZR7mAKVoaLRKlnUHihDbrMlCRldRHbEveR4hJuVQpU4w6IHBeMHZ/+W0h/t/G+DnCxOLwEQuf1mHnUgr7bDX3sOmTDJyCdZXaRsKPGLWo1yQfnWxWxc3kOMZTq128vDjK6LlI8kqDhH2eefpVWvUyAme3j+Mqr2ahjkxraclxcDb57NKevFoR687NevqfM1yheQ7u6Fp1IAokS8niWtylvuUCV6dYtKoQ7pQWcgyl5hzgYjaS+JjWw1j6xFJIY4HGf/Qr+wLnlfmLUarXRTVNyZeZdm4G4Pv17+BtcRxZn0TYGfBfINlltmsyutuTmVYbO/fIk1VpR1G2MrEw0N/yx1pm/5dyxshitnhttZJ58SQClcRSxF/hK2LgYpVa1i/87WTaW0QYfdrETAjG80wAZas9fvU+RUfKzL/K+dkLVkUiun/NEBswq3vQ7Z7kxbbjFUUvEG2GEfGYcephFSxf1bT8T0cJGgWCRpPLVDSYX98stBxg/GEMtSzukvwsOCRHIgRFMST1xhm6PFm0wNTu6smBZn9kfp/KzMXuq7pHXImQrT6H+NhQGriQTlTSZBPZXv70eIQS2nV0vgIr/UwMzxp9qSQRlBauaWD0DK2wI3Q7rgaVksHON4f+VAEoTx48WV1jegx6zpmJ7M52A8DQCUcuVJqSPKicKMdGst11xLknhTiXVNiDY9yKMEroEX8OM1xnCLFGdG48kjUCG0fiKG9EdOmzwJb3UF+o5MCKZDVvP9jniXuErXKziQvFB4zJ1Mhe7paRL/KHVGAlUNnx2wPUAOtthQ3mCk7RzroOOCi/Z1GpdzDq/TNLPMJZMGmPpQI4eGzAIONOxU8QNwJhrKAMTdG2FMeLAXF5pzJaaGVQKJ4Sx5BVw85WXo7NF6nwAvCKDGb5TTnTObI5Cvkwc7SlaRvffK1qk2dOtaA7UNal5ju3KiRrhV2s9ik2OIW9Pw29Snt31ss/69Djco8hqmNi4h/xiFs6ecO82LKu/ay3CEDnfyLxOQqVyvQUcoih82UwDu3GbroHl3xvlujSmTulVI7dbvQAcuEVF/U+oRtk08I4IHvptO7/6P+Y9IVMiVwGaii+dm47Ez3WhkM7qir6CGvaIJxk0l01ysdJYLsaxapX/h0a/62zTJzl5feolQsWdi3D6CmMVy+vic88XmZiv4/ygj9nOwL4V3zuyTZd6wrll3o7C47bfNoRkC6/uCoeoO0IW0CNSVtN2jo3sFBLv42hST88CKnCvO+u7vncLMh4cQ3xnkqjMG+2gt0NCKKj9VBg0o7rU0BrDyLgcJ8NtiYkJAcGAFiYndvcWNNwpuBdFdhWnZMMfmWlKUUkArvxLhUimG9/YU9SH+hb0OPvn0PyqssdhDp0VYa1a5bEO/SMpI1KusFIyuI/gP5Fxz2iFu9e+ZTMjKVfQeWw093Is6HpKOEZjQbIF/IFswIahV3G6Yppf2ND2vEOu+U26yLmZg5+bwIlBaTlJAgUQa474rVAtl6YkhUZVK+rPGJAWfdyIgna5Y0bLkCVBJc2Syz352woc7OUAUIxdLJ6eG3Dj1kz8+0KfqRrrBVzgZXo0ds6O3qLRfN9YU45lCwh590/HJfX49w9G6J/Lw7eHhpTNpv9yvhhFTeqp410/3SCgHcW6Rnha9W6VsU8ibTsbRSxYHo5yZ4ZnVK++e3S8Pi1Q09tgRV8HEYfAgsoteYERF/Ssl/u46prjg6QnA2asubEiATu6lyFe960d9gZZgLa7KLAeTw7QPsHBnECmp0S2Tn0Uw3qPPH0mbl7DkDIFoH+zbTAChGgdBp43FrGPJNdcMFlsEF0ev0r7UwACySN0cjYJg8H6tGjpRwy/yeQJWY2afXhW0ImLOKFz81XneYtqZa+nQVYxmTpr9BcpLt5/KUaC5jQbaUY3vU/gwLz9xbVavE05WIQUG6hk3fMQ506/9lbluhYwqPhanAdhiD+9MMKzFAzKz4m+4NP5IQ7EeUPgWry/yB1WehIHj3Deaqov4PIvBZPIApx+3gKJSxMAYsLF6ybOlSdf4rDnWw6Pgz+E1p9sGXwm+A79FiKYmttwb8UxrZaUO/0EN8NQPK18XrDqlGRMRaq0hmxxoBo9dYmt2YxToNDMrf6sQc3YPn10OXfMOUf4owwvhXXP54MjolUWFzMBh78wb8yBLoL841u1MkH/to4j1TAY/42FD8iB+tADXIInFB3PIEljOP4xHeg3DcJ1vl5boZLTiheyywWxAVpmmhllOhmd16gi/XM0WCUA+ow6GXbLxUQROwFFSY9ehnYFhAeWZPLT6nT4HWp8BCLRhJJcfU6G5o4wLuutEKeHW6k0+SW+0p74kPXWilp3gCfrXfYXDa1XEgVe0bScu0wpmPybKFMec4d+deRdthQ7hCvAmja/A6wOEfuDz1tsyiJynPQTxDPBgio18dqi5404GeslBlRP0d2cVG4+NawKLsTNzole5ANxYDUXv+/TqvfNA5R9OwzYek/P05eKfAF37rEWsZ2zZMccvrDB0ZeQZ0Tik1cerm+ETg13dEBl6OEkcXKeW/CpW40BoHlt+ruVLP1wAeeSkdr2ExYIm71OKxWeurlHcI7Y9KlDb6G/zuGRDPhOo7Yr/b0v3Od7PSKosJeudl8sSs8g23fo/KVO5bCxpval8i81hhCb9rFSC/VAVjxYiAh1q9MTg4XCg89icTe8zI8HM4uexhPqcHwxMnG7tTbDJnuPFkeIS8mtZCS30W1j7wpj0f7RVfW5Ig+5nmf1VOD2EeazI27bKpYdOcjz776TdbkP3Qct61eGCuugJ3U4GDTeNOxl3qCsIQTTA5rbh5dz1Z+Ip5GjHiZ3nBxQGtN9B+dmwt3IiIwqkL0WBjPWnR9gYnZVfcfYwvpJEtJpxb2qxOjCtIOekqstIOca+sLaTopV9SpAqyijmx0qRrY2pXrdFvE6FRSPT96rjdQMMGuSQU7QuDwy+Q43omK4Xy7QZS0zJ+rC9+GTM90KeuiECO4fczbuilDLWC6HEg6CM7uP6+8+eydE48wr4nJJukR+C2/NGh5y+lvHyl+nyeipTKDNJSZkSzFmCu3O63cZ8/KzKYtO7l+ZdIjdcZdJLADwr/0799PvU+P7gP2Vt0on3cPgncHWJnbPK4y8HNLLEKzsoGp5MsTIfswhWVst4I0gvdmVi6xNWeiGhSFxL1g6JFvHPSOKy523mWTtQ70rmsg/y0gLgYuZ9dB2X8XRmOkEcb6LTb2ciSVz5am8wXCiB8d/ncsQeFrbJ4RPtCwYuy48pHXPmDC70M3pMIbrwM8wXJ768Sz/w0deBKzsEhjCNUwtKEpzScH0zd2HwWEN/8udTPOI6v2O9ET+raWnFxiRj5xw/Ug4A7otQBYqLNFHjrdXp2xIrJ5m7v2IAbAm9M/+jRMFh0QecFAeezV0M86r6MkIxbYUJtcYvtFkreS3nYuZjKGZW5pBZGZUp4pO1YAIV/y3EX6SQ7DNfuavrnmjlzEmjvPWwiFBgW5lT28VDerapgJvyYsLWGo3ZjqHqwJH4DhoHzebhrTIgc1HeFZ8f4MM6ofa+q2+J4kYQWJXrsArwzmlTjEPfeCBkyhJsJN0HvlASATt2Xiie15BFcxBEpkRTdFxdgq1+hyGvzbj42tOH+ddLW7DGhV9p4Tvzl7aJKm+6j9BgYxeH8zMaNofU9NSgGGVSYOns/O+10hqGS2wDqkUCpCu6R2y40HE4L+rBwkyIEgu84kn5q76RBfNDzL+9u1Y6L/7DnlUG0r/vYw9lIu4xR1J2kHJLPmhmuYG0SFOPLF5nZicltz5UQ8wduKVSl5IoaGBNYB+2E22dVmsKmQ+d3kIHFGrsCzKUBr9iWmpBB95fIU7pKlDjpJ858Va3/XuPFtoaAKASqrZLes4swOUvG26VopoP/TA78VswG2WJXlbJIT+f6mNtSRBEYv/fRHUfE+qa8Y2JYjNnK7FAXrGSE7UuLU1KfNdL16sbNR43fBIMEGW7Z4icYtsd7w9kpGM7hmkmA1nyeGChC+L4Wkfpq9LUY1E2/lip9fuhYt8/ueGYyZJwMHnH/ECJIrJfnLF64wGDGb8+YdeCYwJmjnRcDv32pE9QR0R0mTiVK7BWdorvWBSCpuJAVChXXLghCu8QzYonYMMpVV7bez++SEdt+XRC+IyUKv4IgoPRHUYwemTzdhn6Jrdt+tgJ5qrGGdPsfN+GCUEqKik6esgzn7Ghk9r2M6OhntLqvKgXoCw8yGBtssKLK86CBYCJ4DhhopJ8WhwvvJqrcKgGRSYgbTyirqlKUNB+L+maics6nA/+3rAP5O8bjmh4xVz0wfn8JLOle3n+KUvsiOg29yAcQgZPS4CFxNaH8+MFeWOpLB1rC6MbCe3v9bAOa24d+Bl2qDCKgnPn5RTfVtKoBBRmGgbWacCk1V931zFn5HELE9ZIJRrySYL0FhB0SxaMCq/A3b7712+nmaFyXCnaPYg+dZFcyGtjWq/j7DyCSyRtiD2HBJDHKc17HmdVGB1V1h+cpM4Qz6cgbFHN940qarvo7VW/UZeV3ZcRvS2C5IaQgodmKcap6FfbdwiGnv8eRnIlZ/Jyp7dcj4/iNg1zfPlEYwabkVOY9JVW7bdjrZ0R6jNygOr9l1INhGHi0HLjJN5WNbNn2IuTM5NycS5iEgpoVNuEoKKDVcrdOTs/sN1PuOUYwAKphoR48Kp/PrEbgmlVYp+02JAOVrQwnPHZSJeL9TZHeTDFQakMFSjrzBvbPnoaQZxs03VzAaDe9j+8V6lNMqFSrf3zQwCuffFbcyT1zGZV4UuraYy+oUeG1cCTehjLROJUscfrK+zBEKtFnjGseOuZFotBZAiNGor6ShKD58IuM/tLbyX1T5S4ivYRnbFOTeaaU6LyFvgAsF5zggM0EBr8U9UtRI/sKRhWtmftTiBGutBJhrq+UCPd52jaxElXxjOJxUc1+gxrHAPbz6LsYXWFjAvaTYTt6HnS3B3w/nsh0XbwAzkgzcNO+iYBWkfPkee27bw1QqF7mXfsJqjlAWHmbn5wOerBZlErk9fHDYplJPlJP6rDVgm+8z405HqEBpA0S6q8OK02IJyerYLHPmbO2XrNkEZKVWwA91u8tON9XIy5arzoy3arxdBluIJQoRuruh0XH9zN0AyVwTJTakV6q+xbEnsoKbLOJN50Ji2+fKg5LLSVHK/zcGIVs3Asqp2SKQW2skjn/Ww0PfEnXgu1slJmYXLftH/e+fEoWdj6kVo70Mbj6rvtr39WUM6+AWC6DRKm0IhK4FSBgKKIcXP7OFRPsYV/uTPb+54nO9aicMbQguAQwtfoIX4H/I8FEf4EWaqPE1kOcuETX5ENqVIfgwSxLWsgwutGZaRCQistBIiYebBVingGNj+GZXAIi5KO2OSTeDoq0oxdg53t0vBQlRXSzXypNljzr623DHjQFmXgLlxDG4KRRA1YYiGUGm6OiE1j7H0gYWUnrKDUpWzS5XxecZc6ipFa/NftxjJGbO8j6oj8p47NQFZYYEhFE9/HbJqR9iQAUIifZz5D473oRXDtFR2ae6j0B1urD28Wi4FPc49NGq1bdJoj2OmpkrZCBWQnD1X1bBidIFurMd06eM9/7eKaZHy/7ZnmiXZ1v6CdF4ouNMWtWTapKlbMC2CzfuiMLNEMrDwrp8M94mWW0jJjNP5ZqQ1dwQ+5aaPYnfM9pBS8lxIKALdhTU1ajSEXpY/joFxJbhvrHbCkVc89bCOBNejNQ3JbYg21hmhbLPOnTnJOE1FAAd8AQYHNvWOHDnNJIW9yDEX3SOyazJsTDXuxzfbfagQF9h87X+w0qVcSUY1dPJCE3p1HPeC3/fopzuww2mKDfNyDDqfS302vS9yERyNm6G0zRr2AQOyPxCoRIYeKAC9xJOAtOEEoNHaVPv9uml6q9E4Gtjibn8v2i9StJTzvDG3Qne1dpHA7cu7TAg2i5DkV96kNd2Tja6KPe5ce27BzWAY+XGDBCT3Rj2bYr14t2jIxnLTp5YRr8k7cx4wu2mwvPn7DEz/CFL5+d58kSwbXcdZtx0WPdhQLHNrH97Z8a9b2PGXu9vVS32DODQzsjWsmqxsw1fQ1IkVLNCf01Vhe/9F9uFRorWPdS4aSbyI1EfSdQqOxXGa6JAOEWHoha0dkjWTW6jw18dJs0VjMouWGsFydJ6c8gFhnQ4z5kCJRYvYA74aGx0hUyYkJkP50UD9eUfWsiAANBZEXXtq8iScNU5vKd0xuTZP4YXVw30+jwEGZL07s1IT+OLSiEfpx+3JhYk5BkOKv5me9hpjpZpXQaIje8EDRRuS9+FRXoeFjfEym6w3mim95d4AndJTAFBygfdlI4P0dWpPigzyAOWHCNb6TzyA/FljapDnkxXtFTiv3+eA9NbSQBQ03H81Q4HV4M5+LNI7RmQSXlTxSVM7K6PCFuK5HYnb8AeJEOASqxT8sykbsUG5uWkNJV68trxNh2uxpqfG3KChHYs7tUj2z3CWkRQo6rpf3KykzIHAcdqsXf7ZzQEmlEm9l8nbv9jqDEUInAbt6kgWzE1FTVwP8oGTYXbYcRCaZ12AsXsbroZH4jSncm7QhZdsMOGREzBdg3Nyg9wv2J4W0URo+KJiwkPaV1O06r/+bIzPfDpZObnDZzLeORicTHnD4NRV4JCSMdPlV9wtyAKci4F12GAJ2y031679hE2M/XjJkhmiZex57NfGQNuIwkkaJAIg9kLYm/i0gyLh0P9eOscff6RQnHfzqsDlYYu8GGlT1whU1Z3qe7vQLYWuN7OrLpN0HQtm3do/DzFc8+sC6q64YyiV+KHYI5drsesp1pOJz24a0oI7Ca18rIxQSiFsJxuJQpFDs4IGKvs/DLwAy08l/ftPIm88PvRtImbk8LvpOVd6TLeJD+5HuX2fy5BUBUxdMZMCJ0FsLMyNe7gTmErqf4iyZ4b/nG29w32tFFWwgTJtJ3u78DL83+RyBrd9r1Io6K5NP42+5wiOxpV0Ehsa/kWDUQL3zcAEjcrFIec0JkRZ8emb/h4A/OQhG+HpRADw5HxNEPEpLYfveGB15soLDWgR2VgU3pSrlp3eB7qDlK1V0bp8pg8vdW1Cog/ScVsp6PDNkMADGZxBKF28SYZbCiXQ4rXuh5zJ5ZKAFjuzMas5oxOk3cl6w9BJiB3LAgw4uSNMuKFtQudeFnRhwTtOR9tH+oBPx6Ga+jMvISSPJLP/esmrLkzq/iuJdorg4ERwbQLmHwvGMA8HzWjIQwZTLCJChu0SnMX5ZetsuGAzFPu0w05AKLaRCicgCL8eQRsY+DNlh47eAaNrEc09NoSyCe29CA41DG4PK9RU+drtQUuMrTEQ2bVCCjOtE1c6jL9JFe5vtwclJAXCnjDDKTZFJcluW+2tUI+vawtRrXfkDixO4qptVniW9LOWSGwVbJyf9FdBYSL6+pkO07sU1v7xdbrLpFAZKjipW4P3pMRZuQks0YzwmXtK6KMx2hPIQDZqxsa/RkXqjGrDUSYdXvV4CzRoLwSTiOf7m1i3n7DXxFl2brVzY8cIH1gAVjuQuqzZPuC7FIvb5jF8Ke4D1L/DBphdhht4Rzl1vctV+r7RpeQAVLiDDxiOMzopE7ECGC+oi5Nec2wG+plx8Nq5TTjr/KgRZym9w7XFLGEkaOLZBggALOM/uHGS+WT2MfItoNWyRXWlrF1Bp+QrAVOLB4ntQb1HKj8tgoefTWh9zOmUT4K4YPZCidx6Fs+dzac+Un7XBXawuFuNDzSfpXWg7B8/vJHAfTQzMp+QH4CLHKZw6knAuOYMeKCqFFwZgbXWVTHHE8z1wazOmWF62f/t05N31Sf7EyNOVvyyUpBe8wb4RhOOPwyW/v9RvJ1aGPZm9I0J8jJOcBSN3sjlEhiue1EEZ/18wX0hAFdhZ3WOTn1jz1omfd8lA6tGdixnrP+aYWcDFlMA5PXDZdkWKG9QpdNpL2P4tECWLb1fgBqEpt5q8wqlgdAnSiA677w16nLG8J4tCwIxW5VXigD33IUJqLAx+wY7x23Xfcaoq1T5wDIJPQouqgwaCcmpzdj7i9Xo3KRNyrllJxeS4sKl/oFu6uY9Zq1LDaqMLkIsdFy5fzxENTQ8AtVz9e5HUJnR5hzEP0Riy4KTmCVaRXM4X0XHGYbETRx4rf4D/rTf7+4HX+JTLpZlSbBioZloHIuSKJra01UIH/xYHvaKyeH9YaG9KHPX7ZHZazaKC1oHFDijXm7YsPIybHYOK4cA5fYkUocLOCV/nGxduthFAmxWZ1n+t53rzqt1NVf0ZOeJXGKA75WJK1FG7My3cAqK2GuR3I7/reoPvn4cNEcrl/CmU4kheYAkTl8ZYA1HxINkG1BW//jakHkJe0JiNs+ycIVDsNsAJKe2Jw/1co9Qfx9yTd0ETO9kGGgFA3DT5tAL0zb1fRubh6gTioyIDONAUdCBdDM/piOlYVlgCwihqKo9hMmaVc1DWraItEERZSnaa1bg1BMw2pfDqWp89anRAI3/6ys8iC4h0iveYwfqcSDsJcbL7SU9X07xPb84FlbOXeGyrweQAI8EmMTYyOmIm9amfhriQXyLRvus8Caesd4jVCdPzLUEaQiUfOSmLPPCPkVgAbaDysVeBd43ImfOg+d88YFp4p8IKQuYzQM0Ga3imV4330sKE7Ov7ktJ3jjYTluwom0dQ/ndyguq07JZ16co+MnWVJnLpo6RKvQNeadno3NUJ0y/VZXNQzwALOVYyudde5+FAVoIT3NdJ6UILeaObVltFCp/s6+5K0ZCuGdZNKkbWUS3LnV719dFgQrUviw1OolXNB/HAgn71Dc+mWaqjfdT1kDxt0ebBdJVdBn7XlNZU/FYjfiI1jiN0CCfN9S3gu26kFPy1plUd3qwlvE7zWFY4so0/y71QxbxEHwBfuwNNfmsWDmgXWsVnytuDfhm1z4jnLuBa10bPQOIyo+aGBisQzIGbuSFKfxpqHGzsNY4iEDKy6yI05jJsGnYvpYcd0cO2xRNT+rsvHA/QrL4hRVfCQJYCXmuTA6LN7JRTGUB9HI93LbfsL3T4nDuCdLHghiRaJClQyriO/C59k+FDadYVd/SVPdFL/tutK5W/uLL2YxCCoElkGuup6pOq9gGUn/uUZd5+wMjRrPTFHmcTMbDeuufmUdLwF8PHHfvSgf/ROnmqg78iORyuFdxPEuV+qiZPSQuk1aab/dBLsH35Nl9gSjsadu4xuBFXqmoSSvr3TMp0DexKqvQUov0E/QbklgaMJvKg3tcKnY88ctLPqMnzTyIq1KgJZZd3GvqX2k0EqEC2O7BtCOkNOqCOYaudZ2RsMdjT8DkYdBBBWY43dIE0o1k6JY1oiQKvIHS+r/jdeLsXyPFehVZttASmLMuH1kJi8ko0ff56QnswVXZW0JpfukFtU8IwxqgeQ8Vi4QZhVWlUukPAJANE8kLvA5g54cO3f8dMbn4gf8kirBver0BKhy7SD8RfHkTzY80x690PLUktZHK4GQnvnEMByub9Wt1caY1XCbA3jFmcWdJTWcYK9kStwco5ziOs8UqMGFTTVLGf5mLfmSM4nLZFig8d2HGGuC7yi9/bqrN0HCUrtkdltkvrMF4QX3afrVYMsxiuIm8jQgeUkpt8vX7FeI2KN3dBIuFj3qrM4p3hHTdNVlhoandQcBjyzvj7o2VxPePfO5ooPwlyaDFG66th36N7iWTs2Eq+OIWKIduWFgwWP3OmiSEqt2dZLOx83Qi4qyQlW1RSPqaUl2HdbvkVukwLJor53Eb2o2sjYMawUTzcsu6uQ+6hlV6weoDnfVZlfmceNmFJKX5LRy2gSxLQJ5XBDNxsDGzSmOlfTsAPAnmTu+JNYs4U3u88XqUafeKkAUCJs33luErVNrQkr/Beqy4Gr+y+RZrnPNGJLEwYDpU/7mfl+EWiQbbY1Vyy8okvRF4w1nIOhmSF9faaGV14753UUWFfKCMjhtAbdnpqLeckv1F42dolQWzr4dNFQ2YXK7VmBNxkPC7fpGAXPiFuHSTdThwUOQdkR8CTNUPF1T4J8GUM0r6XjOb18/HM1C06uFSGqgkJNdUn+RFCkdfiYEjWkCGuimeTPitCg0hwihk0GCEfvkAl6KFj3x8MWS4O56mLK9HtJxcCVVzdNwEEOg62LwkYgascbUE6TrLhobqaWAyxXRSCBgvT9u3Py28hL1Syda3hPW0Yq1+7yUhp/9VmKekdCp2PgE0BS2alFO52ZaA/isfTnZv2pNcIioXrXILgI5+Iw7It+bPpPQJHfC44/26Bu4bKMd3a1DYEQdsyUde3AtaBja0xDbHPDYrqPlaIxRIBo/lNclmgo9Pjg3pyxjXZE0UHTpuFLXVKDEDWuSWFzt3Gl1bHBFVjL2dq/XsLaI76f8zxXrRXXyuc/Xn7InfVOwVPYyyZJnS4PA9KgIgC6ETRMlibiSIa/kx6EdHCvO1YW8Nxo7SlLB+wGdNSRJxVW4Rck8PvO+xO2RXKfmCoOw3gEjyDghFqfXTLKdVTr6lviPpGck1Q9OMkq1sd9YxGThvibcC3OKKC6wI29UI0wffP9D2hYxOP1DA6LUo5dUrfQevLIphVMNWk8HIPaGpUmE+vk0+iHrpi5/QIJ1p9wr4S21DhhKLRRhde4YF/LWac4mAfWKTUljbfKUAs3jaAR52fpcmamJD0M6PPBIXUdP1KOSnf9UC5AU1Kc3LhFX1MS1W2LMl2OnkePhfWXbZbQVYRfjj8iSDwKth+8WOTrFxGQ2YHz6kMwdRuHrCSZMBzmczqJkkMyiQuhd58sB1KiuJ9rGSr0+vQmLDisvVW7YYaZqN+dnsTCCtz7mx6EAa7NVvmIeQWJJattl/t6/wWQazyI2FC6ccEhg+Zx6mK1nz1DxPaEYKdYXFGexB1MTTuwE9SlpFF8DYX+kmLTU56yb3F2lACR//wfVwFl745/z66SlMPszlUSVSL45sUSb8Cs+0V+S5Jd264uIZtr8TM7V5Wy4LD8zN+ekiZ1hLyTiJztURpLe4y/95N+1oli5+zaJ+TiXOWEx8LwsOxrhpn8BvdadJPeVXAjXxE0XqZaSaqbdBj/cY7cudZ/v918POWr1OSJu9QiPVQYp4BFdM6BB96cfO1SqhzyIZ9+tVYDq9sCaf+HAhvYG6NZOu2/eOJb1U4GUZI9Qeyg0GlJObrHx+gft9XXeAnKgkxv3oBhqYC6scTBuNa89Tp0wQs/Ai1eWqsi+nn4QvweKy2Na4xYWynP8OVLB1FsvTPJDc4RgLF4YfGjdWTnsirVPBp7w0lMxkxxo7RSrTu1++KYmMUf1rVGXKPW28hLnkR1d4pvy81HKhQ2GvrUlBI7s7dHzIbtwPkjHylFL0Ks2svHXPH5jwMLU8qWy5R3zoFRXgcEm2/CbL0gVqxjI9rtOoZXv5K+ki5nhn21/8sLzQlRWr3Gv08hOMaugO0mxTbwBsVX84dRyken2dxSPKlcfCBoNTf77xJXAKZwveyrjcbcnZ2pTlqFdDCGSDdctYKssTfGN1kYeGBYXA2YBRf8qu02GLnF7Bp3v1m6U750Lo7XKCvwmFCxHK88E3LtzO7ok8b6jXsepqmbVP3wi94cricyX71Rb5tzcBDDQ0Q+pHd7otk0kMa6rc8eqer+YhiVMD+tukZKn0k90nk4rD9Cdl2vRFLhdpy1y9IVK7xTDPSKCGSa+2T7ZKd00G0EbuA+lP7wf143f8mXdogldFDaGSUJjnc8SR/U3puzQg+Pzw/hBizvQdck2Szf+sgqGuHPz9/mz2jNxCazuOCLxI7BADHxkxRki+kQ9KVeKgZd/Ta9J7Y3H656ymWfeQLLNov8REysMocId1jHh2BGBPISScXDF3br7yVmYmrDaY2ync27hKGnmx5BC5Cb0EUCqnbcZXNyTY4hPtM3HpMq/Xq6+gMgrlW6HXu5DVi/DrJJiN7YOC25lrcHq4tfEsYltqHjlRoMCVNZ1Oaj0r51fEiByexW36GnH9FT/gHun8Ytzj4ZVZdEDMXsoLcw0XeBrZgeNKBqpb5Qru/4sqM9cdH/m3A9V2cWo9WUUO6rbJGNlqri/CNm2rfae/adWwtRozBUosxZK/y6e3JJ/he255zW85KyE4QZ2tBl+8qpuCpNkpxqSdAp8UIWuW/xOtaAw8wceJmmGCENMfvQBm0tVMSe+FdhJngJh23j4VKqSgpEEZClvqTA6DSuEYacQ87OKbK+vY95hEize6d1uQR3QQ2wFT7nZS7ikP23RRfgckksCPF5dTdLPnnwgD9jtwWMQGYek/mg3Jw7FynyGycVwGXPCkp2J9Xg5OFqgrvtsA/ew8FOMehjgOI+1EprlCNip8sXPzuGh3zY5fkEfLiWd2LYqxylIbHWOU4GuNo3fNLXMLLVzYx/k28Swg/upoKvgqZJkQEaNDYosUqeo6XXSC0490WjLWYuxcunu9e0h30d1pn5KpgVXTdlGzgbI5CNWtLeOuUG2NiZCQd0IseAVF1fq6g5J/pcnGn0HjXVvI1+Qgo61Mhfb5mzDQmtj9T6ODWOsGgERtw/rnHrdqU95rs/JUUPNcO4zJM167aoYLj2irs7SL7dDMyMs9CLD6GB2/YcVBg3r7suE3NLquLzr5hUr46a+F3M5xDhm88IotZ4CSCMjyHDcYCZwUpS4wK9Ok2Oya2hzfAh0+J6XYL71seKbtpci7dCUsvP9dZyM/8XRDmbh9QVxL7A0pIDEG14WnH7rYdtte4l6ly8Dce63hi4JRQhB7t/MaXWC++ugbmDLvWjcVTGfuOclBTNZ9jYi999F6Pa7bUq4G98hpXYHGd3Aa43lJ6XuQIUiCNVZZsDsN7aQd60zgpnMDCDcsvH4+2bzKpKdVHu/BQ0dWXdBEsPb+Kxcb0Mm51/h2o5Qh+hLnr9FkbgyUAHXrrfC5/ADIaJFi0thg3a0gFr7OzM52cDZn3JFDV9z48DRV7Q+Dd17EUjFDAYe2A16ebSgHVsrsAC7zx9YHCeJXlJHNaTBQR9OhzNrP551FSjS/ntO9p5GOHoByKTLk3z/9N/HYbfbHvEe88FWXYQWiiJJENJ79wW2lUaDSKQotOixWxuY03/A/7eybmcK2kgB5//cblnkQuEkA9EnvsoeNGu+ptmzLealSwd3RwiD3WRzU1e0HdhJEaUTyGGW/XcAfmTS9AgAAuJRJSIOxDAaO3CW1EAC5N87rA20qxFrXhOD5VIUnSh7+AwABaHPfSMCERh21GiXnX1sDlHO9dLm2e2nKmusAMTFonsvlXOit5ZfBbjIIBLQ4rNHzhj7nyaBBb5IxbCXgTuR0O9NFP3/qVEKJw8UG5kaBYjXj/r3g4XTFzdWlZxww6IBUR4mlE3LqU4IyDJwBgEPmOTi6CEOrTFCRAQFagmg5uppysLj/wiHcg9/k75yfV+ntP6ysP0y2Q7Yi7Rdp/dRRdWd7eE622wPKBemG/t8MJVZmYd+9WG6hSUw0T6p4ryqDBZsqM1CTlk/X9ebRPcGRLGd+g4YoftlzUSfxp9DRRRm/OFqxpn7dnOJs3vTRT/PXIxnoJ9bEWR+z7/2M7Du+dgv2arovasuGk3HtnrBIUQSUrLUarsmtNoHQibFW5hoD2zF1qgu45VSEMbbg9EFPmKmtDpoQi4WoNayuIAHb7OUAW1L8hjnZPSoaLFJfPSW9tAj2d0Cwb8nuioVLbyTfdByUEs0E7rvNhJOQlToEcmRH/Lx0qYHk8Xs7mCm9e333YLiPjz0b1IR0XhqPbCemrVfmwE9rvg/y/ZlZIH83avaSRqxMXGl4hDZ2rbcKytMarDNhuEV13owewtPjev2akZ05mbFln2JdGRfECwUgMQBVf5Wv0g6TDI0P2ddTTFSd7RSgvCgXbRV8qJzLrAQZihE+4j5ikK+7vgFgx2VWenVkWGuqPDDVAQRl7t5z/QJFw8NuRTOXhITGQcqN6Nbkcsw2SIqRjGw7q44bSB+hjZQ4wuu3K4WJsxv+6bPBistQnZ4+IaX38Myq3InhcFTCS8wKzDQxMPqNocorERx0Ioud+34UNt8Dd3yyQ9vbahlHcBdjUD0ojjT11ilc6tXyPHiZ7sFkS+Zn1z/bpVhbAo4Xej93c2IaXPVZ22lU1O8weVyjGzaTG60QUeTlkc16ar8T4OYdHRMUS3z4yqp4AbsvyPifq4anzvWAnv7i7oaPrEPaQdycMPr8SLkMMwXyWerUjIQJhYPejUqsIaAQheUaWh/PuLX5pG5mYwbDVFRkZ9B9Prj2zMvYt4NXCFMErEz9kzEZNacru7qNp1q+3a4aHjsIAONplF2Cn6S6Se6QnRNcp5mjMixVJ7OER9QzjXgqx/nMZu444o0d/CUmHcDdHiNyNfmBEhxM+qX2h3md2Va5FE8RZrna6Rf/d3tVr4OFuOAPxgzxhf03W/OnoEUVyBi6HGZuI4doBS3Sx3DCQPnJzux49UYELCJb5935hB/B4FsmW6NpqnxwcATI0XtlPjcn+9iW2P+TTSHpVfxmoS3ODAYy4qClKbytJvVYpGQ+vlapSqv2v/zX8O1eFpUFvluVqPGuRsKjYBv7vDmtwSN0DlJpbRfRK3VIPsQmBusYIH26kxvKhYuL7uwmqIE8N5FITaXiwEZvKuWyLE5yGnzi8tqzI8ip3PeLRCFz2h5awHbWPOVVCIMo6HUqPd2RMev+7GV7bA4hrP/yaSeCmwmoaYh8pV9uacPxTzFJpkXWI1rKs79cL4WECgmaLkrJC64U2aspaiVNBkJNoI+8N7TXwwPTKRWmKwv0nr3aXvuTtDqTWQ/zeAlaHbmqbwe+b3Lz8F+7hmW8l+w+EUeegpFN/aebngMxnw4TsFnESfVAHvHpYDY40YsjzEPwCPQtewluJD2jtSE3dEPuXBvCTGGZEESSSMGAAj4zNrajTjkRpfYmaoDM2ZLsDtfqM//xmWomz30OB6IuzEO1ZACps1q7qxG6xpZm7/62qFjklx925/pdC8lTrSbmXFrJcxM6ouWOLe4VY1an6UzbZygPJkQvk4d/7V/4jq5h9d1aLpE1igg7bFmXSPT79mpWFbiHcmnKEtAHiuvcNT8M6iI/Zfe6Q3eUzH9jGB7z0MCONIsMO70v1RqKyi4dZLie/Q28H13+f2b+6yoXIf45v071GMIm6pTLoYHXxLk7kZSJLp8VdRjOsDm5adOPnh1TtFKYWFhSel1RKwiZURI/iCfpJh3Ho5E08uF51HJSPKR7ZTT6IRQUr4KcuEK4rE8aH57h52xPzMZ6tl6gl3/UQ+ImJPQZUzjxb60YgwnvNA9qxWFq2w/LuPnNLEQyWQi9IiRWlWhZkr9Fb5o2tPQjPW1XgBeRElmIJCrAeRMJYd6KR0DA/FJzuodxmXFO1B80r7baYg2NqywGny0Ijq8eircnh33S4G5Qy76HyvaYuVlGpY55l2R4rFJLMVxp8kMK+0J+VMKO7RK2gNapSzyAYiSbkHfrJ6Ch5tZO/lv5JZNvRqNHR9aVSCBGYn2ZBt7e/OcPIkQTGaCQE6qKRwwt61CUZN6H4y0/u4YT80leknMyWWfUyCtUZK6wSuH8jV8Yt34V5J3oEV+EQKryJ5VlTgDDJfTcRira8E+gYfWBPGHdT59jmkoCrCrG7eZDo8ibU97m1Au5Q/bMHs6cu03NE+M3x95J1H/XWWqGoQUZPyc2uxr1bQdZWhy6ZgC6uQT83bNcyf4l+379RpEMha3BH59mEsAgSeZoUco+8NyA46nzRs7Q1KcMECnCfq34WMqZuvHXzauSyB1fQRodJc/2ejH4twq0E/WmqVNpehWMAUj/+RXz1UNUPgdNUc3R6U91CvVnvxA2jyom5c8gHqUnXp8BToMrhNABiiHXmmExEdAigYu1/yR1BuoZZlkr49GBR/Qua9fy0JURPfWRnvazN5sQVEGqzdUGfxSikGw/gpQqnx4Q4D4suPCSAhwG2XxN3w7+Ll9AhuF4Is93ZA8vLLWbb2Q1y2BvraMnK297KIl6ronEw7quLo+mkHxBQ16xE7Kd5aeS4gZSir0fULg7NCOUOo44XjIeee8G95kI37aSCpcQnsIIRI6PDbjQuYgP23p6ljuSZlKCG1oJK7XfZG7wFeKoFkLzuhtBkuoxrWSCe15ZUKZd2+GTaAEcY7SkQc84Acn5gylxded4bw9StO7GtksuzLdb3gcpruD5a2iKPqJscoR8qF79wOuuL2JLvJTSocOdLLG4iPqpkO3ddRoQ5ulFMuIcdWfUJeIYcC+aYHIcGcHxnJjasbq/v2gHWskxIHJy1LBYxVwSrncdsr7wurQVDTIo0uS18lJ2GP/b7ZIQGlX5UPXmFWNRAlu8rEHJ6UG8kPf30GCvHVlsm6I6bofOMFpeFj5+Iz+f4FhUbO3f0h7XpWkzfuE8SM4w9XBmSa93rMC2t4mVK/a32xlxSeI3GEF1NLaZUlzzahJz+m+mUvDPzdXgiiCwq5k4ArRgPGk73OjJd3T7nMY1Eyl3AOE7cCPEaGD7v9rk4E9Zk0AOmUGfge1tntFLjxa8T2vz6Uq0w2VxZ8UlDIgOSuTBWUC9jAMMiPDKq6RQQnApVYI3GVkjN8KacUMpyZaDTWonoDmKIZxgmyxd0FeVa5/h5+pKH0lagzV1qHxn5WjAx7TCZ+G9c2BaRlewZkqm2kU5J/GT9AocF50Bnq9fTxEgaDk2QlKakIFPhwOYo2MMovD624w7sqCmkklyoHyPk3x65bsOTxGFw8dGvdpWYT+STSeMzsc3oKaHd3pLcF7WABgFZy+kb23fRU5BRGxwosiH+d4mZHmGKGKaK7LPVXW24mIe0BNz+cSgP1BUpiQQmJeXY7UJnmDiyOJELAGc4kwRkPLXoQRVbSAZ5UhQrClIiw+g7nV2gHRCULPtFxQehUrH7RJahrCQpq2Vb6k8fU8rZ7i07eYGgbBpIh7zJEA63bPsAeRXm49KrtSWGze82DEkHumRLGE4DcNMKQiawju5/SZylWznAg6D02Dgh76Wd4mKfD/yQ2YC8Ll77mxLcIFxjVAF7K9CBv/1OZo8w2gF4UAZQEbIqHvAULD40IbQxKL1v1ZH11UtJ1d4DAYYpWncFczp8urE4vzfhh9Px+SldMoIfftX+SN2V5o9bibcc3bG1nI0vufrCsrSlJGLVTkSn/kyxhGxbW5rVVin5TaL6QqvyaGWjyIwf1K9O6fthU+D7zOXWQC478bniilEGYNhUFhABMNTMZjxRRgtnDyQddc3nkq7tFVK7Ioy3ERYjNBlSsh4iJRQdmPHqSoZsGxtMQSJi/DcQdYCOYCuKGMBc8KIqwh51FDwq5ch88Ytddr/q2FxNckuiEZL7y4iyoHOqj57wIIgsHGjypnYGfmIUTa7ztGCzMVZrzQNydBVy9TI2T7OnI/EHwoTpouZ4zOKjMIBJ9+iGIwlVkB/HTbNdgjbhcrMI5/IlxNvEBovEVRpN2h+Y+SMmNu15BpVd5dgi+zZkBBbfnb9iAL2mr5Nd32T+9PAlPBm+8HohWbw+0Dl5IEokwx9w6xJA4NFuFiO6IQt1R5okZlgVUBHB2xf0AdYsb1+j/Z5bZo0IbhXYvD5q2X+x3d9iLUSXC1D5/8VQwxzgmQnHpcUImDLE4p5ATV+6LtdBlmHHNRkWUZtZ+9XQWn5j0FHn5QCDwRd8ePFDmunVillR0ZAIke72WnfX+xh31DoUFYyK0esM3xMhWyyAOmIlQUYBJKW53v9fT/DeXJQl1Bfo0cIRhRklZ8HFjW6TBYnimUALuGvhfQASdEZY/VMvkCVDD6ttaTPy4LBDdfjkPBr+GIXe4QpgCAr7ieGtirW0MMHaN35ey2qqQQahYLlHB47zaaLrGGf4CtOE1H8ORDoEJCRHjtbhn8BZg1DRW8MbX7jfTyQZotqZBUgxOXxCS5xmxpH3ai3ABVhPF/Jz5qTlL1Scd6e2sgd5QLztdqKFKRLR3gihma+pmPL7TIM2XEFtdHlRLaZR9J7z3HasF1TXG0wofw8RkSUsN8Pev02dWmEGO6NvKgME7NBJ5iydU0ncjNJujcl15T68ZFtsyvcTgGieBHBBCIJ3gHjEOltLQLIVCkN/KMhFj5fGAPwqdOftveGSTYLFrdG4J6CZRJ45mVh3kSgbEI0nCshvqecxuNjtQwVJQdsxKqsvu2ZEuDOCanUk/L51kd1HhiJxT9R+9erVEkpmb6BjGnAU/2TK8MRdxEZ8ZG9MJi5ZUV2GPFpbq8fAONTsDKrv3G5Xls3vG0m9ObuFSy/a9Wld89gAnQRUkCXDlOflr3ZJuh9xKr/35mGuteVvGaglN36Tw7aSsjeP54IC7JQvdCvcna2ipMmElaf9g2TCPnH2vyQUTgZbiuGHBD4izAD71seODW6rW0VzXwHiIEdxmlZI24MgZuV3o2kfuE3pBYHPUE6+pYbHIa2HkBIxYQ7baV8VCFh4MD+aLtB0xKNyEvGCWK4/9e1gYNV8OWFqJ7i7odsS84/9V7FMywhO0ObAqMWG21IBKkghG/37hwMDam+qt5HFHY4PC3EpdEtD2xj53pkEqVFWxr2MC84LEtoBhAoU6iIyxb0wvkEVPx+OCeFXdr8KmglBOg/KnBZdpAvT9p1Ylc7QGcmSM+zhoup5xzucJzaR4AaZB1KcJl0ssHNikgeFdA4U3gwHXadGaf+DIVgf9rQNmsWhoVx8HadLSaYADFJdE8Ia+w5SoyQFI+wDyq2PrOle/UKHR5nNizQB8q9GoxELm0eQ/dWhweZM5Z8JjPRRy/0U6V/15JH5Kt41i5w7021kX06WZngZKl0Za/lTnlkPsQZrT9i0WlINjsTuUg4/SxWIOgx4HjgLLvLpVkPOzLc91dXHgrx+XRg+gsoqOYheYeuJ1PKgEN0rpFDxnMnfuz7xHR4zEKfM1E3WaIU4n+z+yckn6/SoJSNDZTr78hNfJ02enQe3wwNTvQlB5FMWpojV3wmG/bFe12rkzBsFrynNk7e5fOsmm2xHdDIXSGop6jaGdpSscoyQAtkIH6msr/98qbtXAlG1fl+sWjp3Q5eh8heGlCqpvtMyG34cxyFh9PWhaDUPvMOF7MIu1Rs/5FhdaoMR9eT7yqTN2g9DqSz6EdOGRC9igKwwmbpBFSlajd75nEvVAioqH7PoiIanSl8FlMBsIpPeY60m/ctRBmb0moPSTX8Bzz5h/A98vbR7KxOUyobEIWigwONBlErVgNtUwW2YLEIhybRm/9iSVcohnzSv9dQf/y9VmMRYRCs70ulRhSImH9VUDCjnxDwL7AMz7Qq2oG/Ea0xlGIYOn2panp+7f9BfIzZMNxu6YSPj6mAfEAqcvkQYlREJGYIqLmOy9kMgtV/Vw8JAwiaHtEKMFHF/Zk7J5Pp04SyB2yV8pbVmWOLgRFRsXl8NOK4TYHL86w1xn6vVLqbJErqSw3ZqFcUcir2B7cbOUUQ3Bei2X9TKAylTY3xM9eUk4UoOB2oj/SSkNWj2i/hQEqegm3MSX7ur48w54kq2z4I1YhcQNaHW0+D8uTVO63LszqgbqYv3RffS0eE+pHqnN20vuAOmY7MPwXzLQXemAoP6FAWBODwzkQt0n9SeH0mkMvdYGD8VQxdIg6X2u3J8+NvmKFhmDkqdqGdUNNVPUxgEPuz0vmJLs6wUun1y4p3rYzdqavBa2rG0HlTxGjr8xbVv2EYNyUe+nXlF3aSmh4mF7qrYT+eU72rQRGVB1+hybBO6WjTimGtWHJPWgs8eVJSiU2B8WAI2ESUlCfoN5fzr29YkqU7pLgBpd209hF33hGhCU913kI0LRVvaoITw4X8oxF5+vc+N8YoZ7Iv7iPi5qH4xPhUMNsuJdL/tX2HfquS2rZSeqabpAIzrfPntr3Le25wCbU3LuZMfxIw5OGKtlMBedsXkPMdogNZUps7b1kyWfzCS2cGZMsckr0E0ofd6Y3HVgp6zs8XhvxspZWIJMYOFkWFrQ9ktGcr08jhaz0okKc0DC5V6KPGbhdsAKGtZ6hGHJF1NQbmIxqO9XJ4T8GkZ0GyXSrXE5NhOzA4rm7ttVsJawjpgvrwhp03KC+fKX+B9NzbsTFBpqWBZWlm5DVrJIoG3hn7AsybBniVClm8WQEt22ct/iuXvOZJ1sY8sjGJkaGrazi8Y8hahQWE94WbmwB3323iJRVoXMWSHgD2GL3GJF+/8Q+dNx5yZQAJKEIQAwz9ZuKFgDdsB5yaYisNcA3jffDYgDuNLkk77YgH3hrNWFfIO2X16N6bEx36aRnWdqy9ZEVZxXcffN8J8Hqrp6udLMy8r+EQfbSBX7FzMrJ51jiGXUfU7NX4Q75uSS+uhXwh0Xis240tkAv+jUdL4cLDCoYZs9zsDN+pb55wpfn6z0pWVBPxd4jDVEQS7i/V7T3JWuiG4bKKwuKKAv3QXTGC4vmIIvZrcBM5wqlRBNZhwGEQxBl/2YIV6kPZDXcccrWwnlzg532nyTtf/bcnFjtAA4SL/6bE6F4GhVbjRuNtYAwucBeicQJjjwJHsXlni3vaorNei1gp8EQoZ/2KhDBA8bexXscQiyH3f8gfSB5QmAihrknKIWvg54cENugUqqXJHBaAkczYX2dOkiL/HW5q+BNyGYtD/8s3KGKPfhKl/rRt7feKF3VOc2bMJ1/5u61az8ztS2PR2S/hsW6puoTD1TUGl1qBiOLXn1fVeEArchdrOi5w5ybYuZTYDwjWPOg5EiV2sDuKd2pKlxSZ6bwjLaoVDxKr2/rSWhDQER4P8rOuPa0GgIFnU1En01cXXU7tw8RJXLnB/HEk5rkRucYY/Dfaz7XMXQxuz+ERHjyBP4Q3V5ICctldARKCCP+BZrNAWoVEIixuVEIxa29pxmTLnJFUecJYRL0Oz20Enmm82COz2zImAbgdZ+XK4MLMBs9YY5+p326KGwHCrN3YB2ruTMP2KOCr/ccIdJ/c9EnbFv4iRVOrXsc2gq/qhqaZ+0dfWeaIDjTLfiH6RWC9TYov0MioB82QigIGycWtAad6NJsjG6AsH2ajkk/KTsKhSFLYUUYtcGA1FjH2+6tB3EvTW4AFG6E6UsN1GsD3R/aZ/uQ3EfS2JouxRAoAd106VScSoQMOdAdavnHVDyo1wO0CyM2vvTNM/6GNL7w37rYXUlLuvo3JBCHRCwcXPSL9iCWeX/ayhLm92TjoPRqOqdDAyN9yLgqRK8F6INPXEG9QtHrMNGY/Zm3Fb+RfB+p27JlaSvh8GD/RTurizrlNeBXZPYOHqf75RXV6ORBIv6PuaH8ufa70Z35283eifD8nJfEGYvDqxOCTe68tm7MYPd7VOzgGzRoFFgc4SQz9sGQnBv9wmFPp1So8BxnhBLjldvYGY+2z2uB/eHxtCIWK6bkww7UgjVaSaTxcc5aOX0GDumfZ4zt+4X5wdqARIcwkH5GzAaALHqWXF8EorzLVhBjk49eUxuzi8dsyTZHGZQeaUbZTo8vT4X8HZkRZ5nlFHz1SeXD2r97mHYwSspxwuwgA/FCqivG5vuUpIGP+rVj6dbbvV6V5YDgUCPJ5ju+bEmiRSHz8BKP95gAJ7m6ZJlkDe/QF5ANiWeavXuPJlyv1ZoOauj9UKgZtj74yDbCGbDLImE+LSxiTrLbDTJ2IqN3C0ArEpOlbQ00kjg3euSWYwEzPWzeMss/27j9dxMJpNSQIRUVTyi0t5DFfZNxHYU/eJFr+GTL9XHkKfwpIdF1+WQ20DkPKl15v7Kj0vTR6ayenLA/7TmSPdqU9elY8XyybtSvrx87LjHyIfk9S048LJ4zTqptlz7paoLBKhVSNMUyEVjYhJ++6r4bafAoSSIcG8d3kBVbprsGkhf/u0XR4+AYNbD++sa4rRc/7Iq9eMUShIVuzggFtj+54+wOLnQXwcpbHmvgRsZMI0vKoGjkroOJYkpf0GKeulJM3pXX4P9OWSNoxKXlGG0VVRM87qDy/UZhWOecjXBLKYQ7dLpHRVp+EGGm8wKOTO8fQN/E/qSeOp8lWIifeC6f0Yr5lwSkmGZwGP2PC3moi3iQPGURoihTs+UbsYcZ/XhsLFyCd1RqWh7QUvOVrdKXH6QI+K7gzvuK+dto4VinPzkH2nSpzxYnQojX3GGV8YYeRNPCF8yt9VcaFTAEfU7llgIu6oMcOunPFM7rsf5O+gsuxJpJ3pNDQMxT6hG5e5fvj/riF0WARCZXqG+I3gVgiYD3DiQaWTn5xE/O8pvPu1UTO52lq0cfu2IEX+xno2CJBcq2kivWISy9w/g+RdkoGsAgZhaC0ng5CjLWJ9VOpE6wORyrxbeINrcVtPpEi9Em28nOtfSdtBEf0uvis5ER2EbNXSOUNv+A9YincEcsC6sCI/bfj99bRfbgsi4nQVzYaTR5C/Vpkk5UyvFgUb+3YsDF1tdfW8KtYCbHnuG7zHzYABlKABCA0NVzt4uSFPFcq4gx4SI2O3pNlkF79RWC7fgt//dNuQ4nrLM0zrQ4CrCQGOZHvqKzXGyfzawrKSCOGJcJ4Wb0rFviilXlrR0Z8EPyWkv7IIE6itooY8cQRT6/19Ur4KVuYjgCCgJuR6JyUBCo1ulq0WhgD50dD6XX8nigiYW7jmKAX5o/Pgw/NpYeyYSsggF7DGBY21BQzJ053TjTNVrYezxs8Oun9V+Y8IFU/3NL1wF7cYHHqB6NwmBwryKwGrp0FDo6CrRT4JIXghr7Dkj7vV5HfNhwjxJZBxKGqPhRODm5QXtWLnoapvrw1PpKyx5vHOE/ifOw14VGwFsSu0NZior4lvy/6cofsDxsJNBxurL3xyLSJBsgGru61Bf6ae6WvFZC/g75+47jopcDBi4+p/QfCZRjVxXC0EdJdHM+7rJAbVClyXL7GlbNiXOy/ACLQsoh+ZZzDMHjHB6QAY5mDj4u4s0lUxqJG0sVKmRNtztOZoZjmBZQD5jBb7tdZERw+te6Fpqlzo4MNSiqeBQQSnfyNoKOJwO/h0Eb1+E7Po+u/aaB9m6b72dZU1FrR4ul7Q35TTxgQoDVC8QXxt+i7PCfMfqm4Yma4jnxoxIlvJ3K+qSVYjQNlK8jJFFINJ6Emn6xYyOfyAUfvklqyRaRZuICTxzXyntNX5pAzMAESWRnC7uYIHt82h0C7xzzQ/iPkKKnxY/lkQI/zyjAX0pUipR80+W//CE2ADtevhBQl8+YXhrkHULx7dvLdo1NJjI0o7mM7QY/QbwcELZiVDBNgeRubXFngbKYqV0wmCmeSi8oJuYIbkV6B3QYnmuNio32ZnB9MsfU173cm1UwfTX28O9uAn83+2kF7Wr+wGWIJIKNdUd2dVIeY14hhp6/2fGjmVxrTGmZvq+K1QGrJmOAoVW6oYqeRrDPvZ03evAFmiJCruL9JrHo/X/TvvKVXceFfjjHDqMdVJxYbYvunLNjSe0yB2si3qV0iETZVXjxhrCw5nIzJ0OGZlua4GkUJUbTsbj+CJc7YDzxRd4fYf5wSkz/toiOLngV567nWh/aO4vpbWubQDEQk3E3nAgmuj0X9Drv5idKVpzbEsOVPEzWPFobXm4Hi8YV/HmsQRqUsoBDhjufyt2EtSG7pqoQF/B/D1fK91b4flYkFQKSESutSM3Izy5MfNIV+X4UiTwnQSqBnvi0i2ChvKBpbhUVJpyzixg/wazLGR3BWzpR2nHV3t4Ano3KdpQNzomU4rCxgUBrgHBWRL57ZI+slVRsq3jRPeWMTKDyIsNb5OlSfmZublgiqoM9v92iGG61vIulLaGgRo53eCS3wblYbJ2NJS0uiLMRiaLLV3czMLBjTldRYx7MVLETjhx5hoZLMKCk7dv8JHKGzk49IkMgWXz/1UzH0nzoSgCjqMfo+t87K0kSbE1ShcNYWUzh/vjqdLBNRpl3spMhyAHpl7udG+F/+F2CVUAjWUTSP1AKNA8Dek609wDGCsm4QJAuEqXy1lydlMPffhvpPoDiG26tHNvVyYW4DMPX2NBJ60ICRQ6o66t82KhDesZQVStkfo0BaDU58z5EfmUu/lVneBulhDqQ5bBQARiy4wQSA0JWPBqGjKoPXNpmlRNVQzoG2+AS1bJL1/bcCu/cNqLeLm+TnZ+9kZM6rJ8Wzjg53FYCapBjC2HmTOXApS0Eag7GijIoF7sxEufwpPWnP9Dy62y14XBaotQ6OdWic6ITp+eqR6bJgkBCDjPiYVW5fEB9+a4NVFaSH+kWmg/mVVOKXPeewcivd6AQ3fISMnJKt/nelgCHAXqvKkPs61vFZK74qAOQtSOwi+X9xItf2MjPO7HWPN8NJCjIu27d7phXYYMRiqj5n1FsmerQdWAjv3zrQqFjRInJASVFXAshXB8KdEq74g0MFGfXt7WOLpT2/Y/IrwvkSjk3MRotv8EoU30a3aCI5+OKEx6B2pB+ILq6mukYHFyJ6A8DFNpChsCUcYLiZ2VaZsavEIQElUzcI102em89qkIU/MUjVZ7ngYN3TWMpbxRkVKJiWvjEWtz1UW4WVNrsA4qfCb2Wz/oxbm6zSYvT6+eD/qrNKeWfKQlQR0BlCfVzROA422hMfb5wyc80K0hG8Wjvd0Dtf/+qZF4xh3F6Urx1E3x603PMpKc48L5C2yzbR6W3MCDiI/XS+ktrAloA0u1GRjU+MW9AE53l6mVtLknQctSzS2RUS3dypRo32UXyBtrDg9nNlYpfwZKFnobUP/te5iveznKRwvK+pJmC3lpoVtcZykyhH+1g9JQCJaBOSDx1Ae9jZW9tyk0dKvDDSYUVJTamAhrb/GkVW7wmoXaLdo8dT61kezv0Ld2JtoWnon4HnvwkONIvfgDL7cTX8K4OObkoDntaMTDdiZHXo8GMLZcQJo50P0xGWk9P9BaE/bk3Ew626WdGUYHezs4nLOU0MqA5sg4xpvhNO9U2OFYebNue7RzkMVGIGvqwRpX2DAQT8RdzHQaK+caGQ1nk1ncb7pzHY74tCLg8TDOts/Bn4IWjavHJhlmzEXTKgJPfmwo1JwJh8xWiqefVdEXDf/LXRcFHxhi/m8NmizaKotszWWY6UCE0SuAngmN/fIGI01t8MU6qgMAs7MbTC84b2socWggfFgVVGvfzCBugl8BDigRDZsk1qxdBeCUgRj490wUzu+gSogJ8hoB2i9hLBLsfjQApJRmdMHJGBZV+mTN/q/DSPOALwaVPw2hs+tNiCz0qiAFKwL5+Vd3ntFGnqOj0H8tOdKLbTdDc3h/RrLmXcRI59CBxFdKlyyCt2QJ1eQNM5cwJpzTD+9mDPEt1lnSQrJ0nXXXyBH/nEmlAFMbb7adsffjrre09koc6ZGV2bOKwNq56kIgA4Tz8LN1+gH42Q9YhedS45TsnWfSPMJRJVwPrQGTm7Y3gKB6Igl7Lqvt7CDZUhOMOwK9pYrR0xAxwuWvJ8Q5KKBneWRDzNu4+h15tuF4ejmOemBIzcILyHa8UFDtX3cvwZatyw/WtSaqoAIWhaUv577p9lWPp8TrWWkv9HYCb2EgN4X8njdt5NEIKwOdsPmeXTBcSZPJdOSMkKlgynOCr9cpvDJbN1bb7BZdBDLlK1EaEA/8J87AACITz+QuUikNMmVuzZrxiEAFh5Pb8nMme1igPJMdrdE2G/Y+/8RRjNaa0sAqzaNczZAkkpWWP6HUoEUkuojHK5kcz/LtAxzWlEGfrLz7XacgvGL6Y+fkyEuMkGobQHY0DbCheQKMlEPObzljU=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YMZBw004o71Xrc6R1lRYDJQHSlQlPFTiEeURFsGy+aqA3M03A4oFawx3EMiPp/TcKSzbTJ2f8I/Af45AfAhqfXYR2wHm54GLWFmmohwJLKdN5vT89WK3WuAW3bBG4nejWY9fAFC44iMckZ29pIrNi0R82WYsvMfJtE1wkPTOFhO34g9VQ2h/tmX9BiZo9tGKbAX8qqamQgQn3/aaFmpmeK9FnX8yE7k14N0PybnNqRlwEWbhC7iBBf3GKl9GPaNNUqcdeFU3O6vB6+/758MWNrd3ntGqKveDtln/LXFWq2uTIq54VcGd+rBrVBvDJTyDQajqISFnyM9xe7M95xTkQS0YXkwi75wUATIbh8g8D8XVQ35mCmhhuxi+JX3Z8Hk1qW8ilD33Tu/dbxKQLWBK7oFQDCOn6wcRKKFH3Js3DKFTGLxeVqWpu6DRBvf6aFIDlHaAAQ2d7rm6xCOeFNNmkIYVfyS6s3r9KT2W7injmfWPCPriahv/fpSx5H+OvAlyhbG0+Im4CfjfPAZ2kg78Ol3P3bK0z2/ZBvhDIDGMCfFzdx5bUHMSMYueBOhTvBKeNxxVSwP/NDyQelAa4BCuh4f+4/gFH+pC18B9ml3ph/7vthnrYr++G4csrQnLNUZGzWcmtCq1ZBicxNm+UbiZsFK/wK4tFZdEwfGkLD26948dAaBXz3LPNvSXqDAEFoyLmgSUMHi1WIVuoiN87OwmcBw0YVCpwZxfVkLWySTyG9aGdvPieZNVP06amtDb906Jv55lHPmxhuanEpxiuJ7NkM9Rij6PAHJau7jSnfpYSql1L7lJAQXfggyiWVhpI0sW8MQDja1iU6YCPU51WNTGlCfwpNDXkdvx62larBD2/O5mPQFHb2qAA5G7hzwsjwKkF8iBNnG3VcIZsCsFWe57eEBIie2Yc26+O+az/EcJZvicx+OsejbSXqYmJEx31cZ74Sry0jn+JMn1ESZDPBtsYe/OhD+AHo0EUncOnCO3qQs4AUFzy8BG4LvxkpWjQLQaOuQsH4ScMMx30cvyGdaaDFEuwuKpCr6Cyw4TiU/qhRDGAX/IPKzJITbR3ipYGynv1eFGlD8giUXylKvxTvzGnjIY41R4/N6nHtIOIxPR00Js+KIM01UIftQEl0WOr/WiWpqIxBkqsdF/99pMmyCIKrS7D1+2qYunrp9uGz4Q07x3HlYhSr+kX1/EIj/Qi8qkMIQZ8d/emtJl86R9ffbdZVXVQsj+xI/o1thS/GfZrcGXkjm8wHx6wBIokgvofgjxJd5HKJZMRh0cJy4pEiPdWujSeoEiIdYIppTcqsxqCAuU/uHSb4ILbBwXDii4e+d1REvoMhA4c/3S8ehYQHfHWsoALGgCsN72pKBmfg9paD+Hutqe8s8PZT6uNm21OGOxxDg6I+Kw/7Y2zlMZ+i3XYzDQZLI8bqRns90XNzmJQL1YVZBFz2yDqt1iMmqladvadCcHKHHHzNvs4wVdDGHqgArsMkfnhbNiwH42t+D7BMPxW+E82OZwWuGq+tH0CUDy9vS3jLkmSAYk5l5Gi56fMfFuP3sgAU4CVSTEkd3dKyx6b2AzY/oWDxm8x6UEsgl35l5Qy4wPz42J1UnXU9x2uCL18d8RjqD1+8ZqlfyO1ibtwgSYUpBnmX/Y/Pd5+PFfWEJ9VtH2z+DubrxTdCG2B2afV3ASRb/zAzumkvypTKXvBXr+qUbl3Pvxv22hjsyvT2hVuwncb4deVrdWo2VPDK8eWmbb34OKaN4CgbVFC2INoF9NfLk6gnhZe/AoMfIF210DR0GQolG9lyBcVRC3sdGbbISxOFIriqNob9w0PGFC70xZaRwHqqfyDkXsoDdmV/fp7SKK23Yu6Lk7u+qEhXYRRjiDaJe5sDQZcTR0jvUptHoqjHKhUzlXCRs0xXxKXt6E8pXE2cCHDTF6fSiV09hvrxUdx1MGH6NAyTqOT0Tu2RVtbAqTJMLKb2+XiiJLhxRohTizZPpd7dIl7kuLa84pG333im4A4cRsBuhnXp27+nnuXnmmBtX+CraGEMI6z6KW4PKyp1cUAbNQ2MvC9ePaxuVuLSO74UE0eUVvkYRHSnDJJcBWLZFm8oL8v51wgJRcRX+WSkl+OtJ4U7TcphYHmuwMsUtqZ4052HI0OtrKm4l1RFV6bCNAjS6wKpJE2n6lz10c0vKD19mlo/amNqiCwW/BZ48eH7qcCazKamgIz8Qy2CSUgGSK8DykGu44uDYYK0SmGgOB3VBODQ3UC3Xn3CZewwS/HsrQfVHzN77GjlbGmIX7GZRuyShumshFrh1pS88Kl2iH0VW9UZ9W3IYoTMpZ333KewmyPfVa6fhAzs+2TEBBueToickR5M6dDss6cLoB+8NyfKU4tqwnM+WI/uk6NGw/vV0I9+ltVqAUWEHpoBCXdnmB5l2AbofcadK9kdsh6lHRON4LSVPa34Bk/DSv+Wl7rLKlxUvuY8w79algWwcNQHEHJxPSvvLFtleCaa0NgORoF/D6a0SS030e5eWGtTpKzHnKdvV9YjgRkvugD4Jcil0ouYhnPGnsljszTg392JGL3hHJYeR/DvqoX4bcdC+NINPJvrLOkWKFX8IiEuyYXx0Nsrlhn2jpgIF04vUpkD5bPOoTG3t4fnbpFa7woDyKYTZig0/GtQK3vvn/lnVghI+gX5gPMcx1Psn3HonGndpD+wdmqoKLsj4YwN9Us0R1f3tGfsbgku2jI8qHb9gBgAe8R5TZTRLxrW3YYoqF0Kr3745rjxovtcYnwUaM6mILr7BxqED0Xl2GAimNPXZxxiHxI/vk3Cy0e+jDwIxW6YmwjdRemVmTPjyQGq5OKm76qGGgj+YfW/BtJYq6lfXvaMGsypMDaxee1tySxTirucXVyolzYXV0QtJ0t/lXkFb5wXEGX4P21wruNLB6iX8ENR/B29iuPnVwHfBA6nY3w9BaEqVaU9XwO2SNTOcvFVKoBFdrOur5BqRMbellmIkhaQAXDlsAVy4RgtE+1E1Y4tMSAyuA7cAEbI6pHa5CYyLiGR/oxduIMH2bfWkvieH+S7POdHRLpDN9irx4Tz4mNlrCXQIMkvncgDuMpARkQkE7Z+2yg7orYrSd3UirYXUdLwROIs2IBGdym3wPkzFRm4SwIiAXt3UG4gQ2qaI9qvi9GIukC0tY8uX5yFIEopeF5V5HVSB5ltJysZhdHuWtJPEqqDrF+e3XAVdx2XtsXYrmexY2G0z7RXQMpedALsul3vtyPjn/Xt1y8DfBFqtLRAchRX4rf1iir30KEGpyBX+Yq446YzTl7+KAVbiZ1bWm3CeAUe7Bwp+SM2IXOnkubz8S8qD214zb32EQzG8vX9h94Aa4qkdKioUii9Vt/iO6UU0/dbgadXFuyYM6f5wG5bo4qR3Rr41d6wg59aM3XyY1OlRSlb8H+XHR8utyg0kaTBKuXI3Ztdlsru9LpHSKEptChQ1GIpO8jLM0oN2geH6h3OmlKHSZlLLVAAgzaVdjsKMCMOahMAf8qXqfC3FY7uZe1PMJN4zltDgMkjQDhjUMC8Xh+gniFyJcoMOtkCb9AsjfcblN/bAzXKT8OQsd0fzm/nZZ5Oc22K4tABcyQpznxbIP5jESti7HmQYDxguHq5ubajJWM+eef17QrQf7/xVust4LU5/8J4Dr1/9ApWky1HgZpYHqWRCNhZcxPso0DmE6qVK56cB0JZAe2uZnMRdQiuP0oEoEcw5cxO//ZH18vSww8ggrrqPrxlXWGZHhMJ21i0H0hcf70kMoSZ+5KNQ6FGeHqxXBUXvktAo5W/4OLi9KyK6jxFDjdO1lIknv/0OeXVDhg0zOEluZtDNUtV4H22UoZtyk7yOi8JeTHL927STohizEZXluZPhE8T2AMbS/kdyxtdtYe8FrZFYT0S5CQhS4YUPy2w/u7bIlMK11/PSajBySks1bYEzw9ep0SXssVgqt/QT1VPjO6v/ErLNoWyAsQRQ+1Bj5zyscwPW9pSoqt7/5RnmVJbSi0axwDfoGyiJYT2RbwbnlJOyxmMCLDgX695IDBXS359qWJWNKG6lag0Iyvgk22OA7tX1zpeJtANh3KTP7X0pRkt6djdUiAq6eZdxWRCoEZ83Lt/fab89jSMf0jtu/b95yzx/cpp0e/O3NsOqqKUlWIgbTPVeFEBt5FNYfsCJX2niUEl71vKxa+M7M5uBdj4Q4ZYrp+kT1DkkRtqCVsSyVspfmkPgNmeCEjU6ezicDoFG2cAPRB9iixc5YsochhQU1mqBwK3Rqp4AJbcotrAMKFTLt1PUxb1P8ooztyoTn2T1aWswyNcxfVag5tcE3MQATxZQsjq5MNT1QoF6Hlyu+ppl9iELRHU+W2gEg7lcyxWSUjshH0ec8gMH46Qxr8ZwfIIitxiVzmXd1d4ygcC7BKehUKgI/Ik0F5PZx2+Wv1tFi4yM+JVn/WbSAf7TPn0Q6knaypOxYBUFdR0NPUHPljTlCvciIFQc6X8trBp20cZz4gGmNVJ2Yvj++04YSY8XzaBB41lhTarNWaVR4TFphxRvFdpLvSL2tmhXmogUKI9s4guWRjEUlGWliOgXhjXQ4hIceKtLIYcLOMTzEXfmtjXzQtRc3/bPhyWahzIgwvoHum58h7Vivdz1ogsCbFVkElStj/r9BuYCGt5gMmqNPuOz7EdBAkBXcQbtv0G46VhmkboM+5XQc9stEJF2gqtP5OgutJ6Fq8UDOPVB3Y3AZG/bDGf/XqaWh3nAfg+N3FuWMZdHb7eDAgZg+HO77XgM9v0OlMeMaLLLzqaiay20EBBwQG+50/TEY4fJj4o5UrENGSs9re5ioQgeovFfW7aimZUg9jL1eA4dprBAL9OcUFXWFFNEukmp5qR2hR/gDwD7xiPlBTOxzNOFD2uikTQXml2ZzoC0raYgLTGozI/bSIO47gO3F28Z1c8yfhO7CNh+4JELzlGX3eV/Hw/hgSGBgnzJReR3BplxiQB5WciSgLL/Szku/D3MAFZt/Tcr1lcTQiXxk0IWJnSZvmvDbYDagWpl3P0nxreoD0qycCjjJZqwaCvYmy1hpVdyi8S0330j+ISII8axc5G9CcwaIXj8oW/tmHWtl57LUOd9xk/0cmBH0mf5IIg7IgQI5Nbj5QbPkujJzkaMGVvhpdm9fang2jNYhtMdnXD5Dw5GBfSnZf9tivkYc6li3vwd7OYzVToWKz0riP3MCOg1kRMlmNheXRj4668nG8El2YHe08vFSO4q6oSrlovz8qvUqk4LwvmHirAq3GawsC4OCR8ptf7c9d9rMlDpjQkrdwe65gJ6IGmXGbTZ+29NHtHkUAFer9Tz0+IiM5TJLwVFSrogSUXrlBTc3rd59+nTUUnQYBWC6zGahKie7Cgzo0wnT5oVqxtiyxTW0zvnbVyJIs4b64VqcbiWNLejX5N6yKD9muGl5ZtkcuYNwtwK1GGs+IT5nQHnR5IjMIygM8uArf3HJr8GUqnmcq9V+emKewRJWVBO/B9orzhzJkuVnhQcjJ7PHJTkGZ8b/XA+gy6vLyEqPeBonjJy2LU49pHlnVuFa3dJf2c3dq2HH7TBf2Ex8ckSiBuaNEsuzUqn/xZLidVdL+Tis5/w3pTysbYz9U5Es5g5B5CaiReZduk1dZ6Fx4QG0jHF06ktiZsW2hRVvR2LuLaTh3DlZXyFALTT2SewMmsmATANlY+Ho0JQHDlBHzq9y48plQkB0gy0TowJhACr925r3fyYmrnJh7ERjBQ0TgWATPvbnjz9a2AwcPrZ5wTxwrQOYZQC8/NYoLtekoZtQdaEqcnim/wpgouTWFilLBWUOjk4V6M926KlDQ95KU09fFX45kBeNRPunSW1h5hc8n+ptijmebpZmD9LjfMwXG30TpAWHAYJTKYT4jMt7qCD9BE0zdmECWOWc7yQmY8KTfTjz2FVGgpY/dE+m1kQi1uql05n/dBYG3UlsTTIAqWiaUgZW0sOF0+Gl2BStRD6d3P1ZtJQPRl8vDLBMWI4H8uulhwLmTWHHYfoVpyOnYDsK+7cT29wgf8f9z4xRnidxtWvsArnfsudvWCwm90p9p7eAro2ZEcuo8/AjtfZyKFK2mDzGi8pqi6CS107JM8CmM74tmZFhRd0DtKvo0zKHt/us3LH9PKwZbZRq91y6QDko+wTKcpE6QWYoHQkzzzyC6F5ZNF/Tf2hjExSDSP/TgHQ8Or+owXhv1w10WNO9U+yP4+1cGRNb5ax5jCzBnhvbbJdPfY40eNN7Rt/6KOSu4NZWN5kwJOJfO1tTE0uBhNDLzzP16MY4R5v8KsMk5cxp5wqTpOErnUp6T4uvAf0JWIP41w8hgzNp4pFZLRWSkncQun9ds2gpdJXLnzF+8/EejBDWXsUL/S8sMJDrxto2cYqwGdksihuEz9ji8EbeTnD5Bs7yinjfcwUlY1H7gi/XhCYjAreCOorh0EECkXYXoclKDyHcpxgsdTwbTJYRe3Xcw/DZxJy/sR/HjrK0G64ezrxpgrFfqYmCmGVeCMvzUXUea81PG0+qGhWdCJj5NRlxsGBjiqwhN2WMvtLJf9zZ2tMNP1+2M15Hl3UBI7NsXihGY4VZq1r5yZgp0oSW1Jh+VY2V0/t85IYh4+GP1NLC8kpjHmJEMEoYStLxVOxXWNLoNieA7iZ12dzz0yjrGP1HZwEY1SmlZkldOIzWkaKvLMP6O1QyKQet3o3yD/kTYvOYNGGhKQ/Hup60BpjG7/GcoZ0jLcbgUfDLr9bA31GVKIq07ENzalQhYy579eA/GuZycluVSWS0qu0A+/WNodK8TSXT/IZAP5EaN86WFRdNTlXyc2wPnX+8a3u7kDauHtVgzir4Irqs6KqXCJdSiE0FC5Q6QhTxrVeUtgQKW/VjzLkLzvpt1XqQ8aGZoUZY9dO9RqfJOAgMXTv7lvovCoWPjAjUCj4RWOKZVssuGPv9A3+QITcK0PuqroJwVg7zunQciQZDpDnq10q1ygMG4eki7W5qBMNf0s5zc7CIR9rJdAsTeeRvK3TZ0SzJ5OW7PesmsehGp9ULBgPSoMg+PfXN1n6mscAem8thsOOQ44xyQw4i/62x4p9XGQ/HrRtJzMwY/gTDRJkURsXahJRYW/YKFiyv1B4ixT8IRKfZ9yLsU/jxOyaqGZ5TXozL4g1uGwcDRdFmAmAcMwu1XkKSq8bu4SYxpe1F4bCN8Bn7w6wecxYFRt3EX3ndNmmjaTw94Fq2JEv1T6ygxJ9U3S4izih+m/xkZfknbsuA0B1HvP8YQmRKtmblsXR0GudlSzwBHqtHgxWS4Sl947UToDGa/ZQ5B/6nlQH0WDtRqMcoTxApbRrjQRdwEa75hAy6g0AHxm+fS5acOywvtf0PmdQGqR7vnvOdVh0JPzQ+xcECP2RTY2tXHt351SnkN4aIIX8bptRSkYHJORndmogK4NI1HvHwSoZeaJOXWGmbRfIsc+WfrjUTZIIX0iXv1ufPQv0WCrXs0kywBwW0DQmWucC0p1/j3Q3+q8opW5U3oPMvx2MCXl7iieXhyXmJVslKgqc6n1QYhRjMwZYBc56JwPyQvG5vt2/sSmWmLrVge9UH+rQBdUG3S4eTdLWZNbqCahp4CQr98FDxyZ/D4pPeFO3p5DBBLWerVoxwi8LEGviJH0ZoZDgO0Ab68COrm8Wu3A+dp0aSLA28Shd4Qo0Dl0CSYTKveMKDZOIRKlx41N+BffhQeIxsFFQ6ivvQ+p6nzyMfpNeDNwzBNcvjZ7LQ9LQUKGcBjaM7txHHNc10ginIOIDOzX7vJ40m5eoZH/rXCuLFgJEg4X3dt94ZJyzCM/SonycT+5xxF9/ibg/Xnc9Hv59IaxY0OFQXYiz0rN38dof/EYGfIv8uAOPuQO+V6T6OQ9HoTEw/B0TQMxPhrWlgA1QyORpkoMEnvbSgcWXyhz4j9coGOpfPCXXhVMD08luDMTusEG1YlNbOpeEQ0fmfqwPhNvbFA6pCXyYxkFmj/wsSl7GHFvgwyKudzmPQLgRBYCyTjNseZQbPT3TfRoAQmX+Bq1Rbmc1zGSmi9+zoSBOTweJRq5Mk0vIJ+ij6r+1wCrrxu1WR/dul+FK1Jc6EpstUP/0QjcnYOi+EfJeLHSnhyfFsPlHRih2+VHp2drows3N60g1wHw9zZbmxXeVds08SRqgJquJtT7RRpnIsn7menQfrQQxoapwIpM6cEgWq0PfiSUJvR1Kmw6YM0MDhqvCOz33Zfl5Tmwn1YPZUO1OsUR1DDk4rH9jvFy2K0Nako247oiCF/l5/MoHo3KF8+m9lwUmXBhUWe0FutQMkMo4I3CqhmACTSMenwvjoor48vI2gVzFRka6h31ZVRi/vVJc3mdrc6koiqTGwtCzhWycdjoq674WquKMYyb5O9AQ2aWTYdyWM/v8+wPRUqx+63ZeCCYvUkMbvJBRSw6kH/Jg34gbhDNDtkNE+s264/rjlu817ajDKH4rvQ9GjVZFdTnI0ekcvPpAefoXZJDfhuGl6G3jsT0+hDY5xvQ5eFLa1hzCkZAzP0A+8Tmq/jgJw5Y2fCpglV7FviRBKwgNhkIH4fe309BMnVwcSv7jcw5zq32TapxeVOOItdtN/7jKvB8X8bUIBcfRWZevcQCX56nC61uzSBNdN/QyNWHx3KDt9KLBwy4UuuzRyPB+l3VMrPM7eEMDh/atD1B60qdIPqyn3xgWjUdHJnxZdcBIQ+gFVlz1qBBrYkI16f2ytW2WSy+Y7kF549wfzzkdQ19vJ5AkkLW2gCZRm6qSqTmeDvXMcY27WEB/EFXHa8zsK9RD3hTlyWZPO/Xh0OB1qNwEfspApezEFT8uyoqsNBj6GDQlYZeYTZQrio6a7cCi80Fn1418hPkHArypXCl4rDMvrOU1hrlKOCgJ5K+KAcv+OYmVczYO6o3odI7gC8rcLgctVGboVIo8qc7dPHpBvCoJzyevWJ33BpIDke2XXEPhB8f/mbBGiWfyDad5u4NwQkAWG6Axwa1rlrm0Mq6G1rLqGaoGhIzFXCwyZKi9iuBDlxFyWkoHz6iOfbNsyksNPSsR/9GMzUPYb8u0Rjylz8kiMxWk43IEbVhWigTLUWojx0jEObPs1Ou0O53iljFaMRgD9eU7j2MACNBQDfqqknophD2njOX0AWPgc3XMcUE6PNhmnrmj+srvYsT6T3wmz1OPYJaDazTq/H3rLKTh7zc6d5eVW+aT/05k1wxypO7j0xB5Q+Xxb3L5Oow5bnwjKuMsaYfOW0Bo74YhaqRw6j4KOYwB+r1K0aE7p8Hwmt71oOdBPOk/GHp1dx5ea6SStWFTwQivJFW7GFCwGyigXsraD4yafMbznPnUbmP9GMXT77TS0V94tEegbcqV+jBxCarGNmgIWiRtqPY5brh+U/atRf0y8WQfEwd7j4aadq3Rf5mALhjFU/1Bh8xQCY7chV42+E51iTjqoNKA0bjLUSxRk3TxYr/hjlJYazaPfS1QuUGPLOQvrEpgZpVsB1EZtmOsQh9U1WCW1BN+Npcj5tl40FzYuYH32SotqMUFWxniY8zbNHFvZ2f+3cjK1Nyj+bPN09ENJjbuPRHNxe2+eu6ZNGyc/fwdQSUg1osFJqXTc3D9QbJPG4wGSz/adw/kR94SFBMPOmTUbqAeynEuCjGlBl3B5+C9TdVrMWjA/5NyIjIpX8lQlw/rw0Ef7n/kDFH/UPoaed8K6RVBPeSYPHQSb9vh4mBWNGVZTtaLroPFFm4t0dT+Mm+ZoVAWI3Ytw5lKrVLXGcR5h9cdyvv2SMMjQZAOCYN1WC0fWN150P1fgnaWk3d5NCkLV+iXPOO3BzP7FiUpj6v0b1hIqLx1KyNPEvESkdC6z+1sklHk5szPweAAtwL4bVsYQFTJU1o8Wl/RPG8iK+0rESmvKZTwYKrb/obU2dVhfEoTAfdtHTR68TvadkFAczlsNtgS7Mb08SaVPwye7TfgOSh6620lsjWfrgvg4UvS96+Aync2luISYhwF0MkMzkt4mQgScgkyhmPEFtwQkbe+zwYr/tLBN+c5vExALHDuPHEy81WJMkyUSIZ3BPq8IexXG/Ao8xHepIkhoMs4jZppUZeb7LWUa1KQe2UwbatHmzbJC3M7bGE3DCLdEs2kSQ2urbtaW9vCU9g7QcIUw2l5ST+pN1Wn7RU9lUHCB9fBUwOfwmyRkhHm5j1utVUo8pYGEFV4XVotTPUBKe1kc3+h7OEJKcilKodRt60DlpGdOqOswrYZpaktXgh+atjqMSTP9mIEL6jCVLy3gHd1lUZ1dzLvXTKKKkZdFn7/ek+JOohWnTm60bkIkjpnwCKQgUlc1rDRJC7pqUY/zicBSOvQuV/nRKIUZLZn8284R29q/rkszjO+2drB/CM+fB3ARrCTUhz5Cc6YHLAGVOKDUTIz+NDwOmvRpK1zVnV4FKw9G1HwSo4J/l0yamoqfjMsUsVOoh/UbnIVczix3kEF/y6GhDRoMVLJ7NaVeKQQ+OHL6joluvshEdlnTKpWslTc/2JKfeRFBy48C+3SVydac5lV9nOgiXKzqNcVLReEp4A2710gEBy70hmdWAN7DRVXNxrkS/Grj9Ei+kUA6XCUIbVoG4rXRit3jF3lPyEUSug3+R+nYAUGPyGVXLU1g3lQta7z8F84tCFXfvn2OkZSmHRoSr4/fWdP6sjKqG8B/8BUCybTqAWDMDaa2Binom+rw1zVh8ONKpG3HKrp5Nqy5zwVoiDLj8i8JEdpxzWNITPT2zgUNtHoIitAsk7dkiOuUfWqYQdW443k1hctZiszYutl1JiPYkrtjD4QsSwzTcN16KCBAkDKKRvfmBMhivyBmR/Ur71C4iZ8Bnjaw7dRhyIK5ROFn8Ua1lq8+R+dUeAAI2YVrdG5n8Hi6v1oqmIl0X/JFL+dFDTlJexwDrU+rvrLVdDtFspBe5UELan9VAwEFNuDcYjwxz6MQnht+3yxdqDNrC3X2jXPq0TBGUOM/h27z7TR7uALeBeQ0NU8fQZvWgaEd8nbFoJt3QIGOtyBy8QNSwXcXNIpmzAaSADqObIpHs4L8jOSqvJ2gxUhnH59np1I0KSfDPZkoFMx18c3Ws7uTvRpVLHKHsvDbs6MVDncpY/UuqQmVQfjS3PpiTbHt5fkhXn1dbDzDir2m5DE9GfL+xu0FPte0B5C1k2XFiZ3bal/RLHSIScu9m2p6Uq771KAxbFkeDyXuKXP6zgn6uh1DnlzVLUXSEZRIda3/JRsf3FNkczYOyh3wWxISVUcL1bP5cgWZ2QYGYMxF+hiX0hLaBvtT2flk8wnC83K1EvlDUCj07bkh4qnBXzBMcKs8Co4tISJVzPFHOEjnkKNXHu+mftLbgV8Gh1xQmM0nAJVTEeTPTA2Z1HkfqpqYdTm3ZXNenDhu0ZIEceRhf1izzPvUtZjyNSo1LLIMUVKDt1w7QfLtU21m0FiN40MfAu2sGFiMhSrgNP2lzTyuv9rfqUcPayiMmjm5HJKYo6sO+IYyQBNl4Ojhvrt4MDNxsZvNwBi6PVq/WGQ8fx0x9Af/QBms/CsLqJk5fDmpcEKsvmcNhz5fQDHKsUZXMPTkK6gZuxIlR0C4nZEbwIT/AHuGLmTvFkKqXqAJWikYdOJVaOH5jWHUNEWCKyQimEZkzAMjgzLFCCLpEzsXzS+MkqSbJRnMsNstFe4HtSoYwcuH7F1vnOK0Z9zNRrD1MggmbSIz5dEAFJlTyQXyV2o19F3nss56BSTgxQPDm4g9NFWeC9sxTxN7umicCGZZhEAwDchNn2ICnANsAa24QbELZYgC2bHpWmHpj+iYvnM3iyPYgFF4Gdkb8k9CfyefsTf5RVuU+aYSB5lnbshy2719JACeCx0lN2k6HtS0iZfWDyPt0R887szIq75yMVdPt14vOHEkkWPXL2F3lCWrW0ZcyzXrZOD8hHq4ufbnZL+zsaoH+ThupuXskAXHslz2GWUdELgX5b3QpmuEPx6ICuzb99icGpCq0ci+Uf/4Iy2MGHm4jSo36GUZEPvxgBi69JGzZ5R7nvmyi0H2UG0UIlEnoGY+yoNz76CWcVyozT06MXGxFfRq3kXf7MEWqxYKqmL03k2q0M9i8V/S/P3cbO/Mcfd3L/JR+HhuUCvb8LF154hXS+Unb1Ika2DvvsNynl3CnzPAYYs5BuY4cT7p+QNyj8R6EcYsM2A+vynnOawbnNaeF4JWsYYQL/EYRABTrMm/51+U2aWKup+EUFmzGoAtX4xza7DutTrDy4c5H1uHsTA44BRMAZxGjMzvbEPSoENJEkKS7D7KMOGkUYFPbkpJClTb5ePM+hGb+Q0E21+CwTPsW9Wl+aqVpxW9ySdlt14ASgCTVgg3LAL8S9MfWHqzWOvcL8MqpivSwOTqaUPvnd7Sh5E6ByW5oOtNlrqiMlnCWBqwETQ36E4vRxU/PGpZOKHzYT3dwBs/C8F2TfxmGxqkQoiX7JfqYzOOEnqVezObwUonFNaKoihS6lD+ZRbZFcLRI33+hWlA1GNEv8Y9FLxUOVbYjE1RKZ1sbZDLYkdHNevSRIa0FQv+1+C2fg+F+MKG7xKb2PxZyv/y4Kv9XoU1IX4YVLu8cI/5/KlTcGjInHEPM3oq3GU9W0xA/DiEuD5IV8vy12Dx+pfx5c18gM7jsdCXnfrBVX0+i4El9iwXjfM2ERZULtKqw2MbzFqm49V++yJIgAe56M6dtorwyR1ipnBreE73T45aFgHn/J/suiwAZozlfWsNQogspGvnHb1t3l9znSfiTf6sHYnbWr+pnmR1GwvWs5+BCvnv+54pdZI/wAwVq/5fEMyWIOBhQfYrEZYCNBdQf6uYH726UQYlPgGWLJhLeLSMj22VEFqIWRS/KDHpiciuVhnM0fq4T3oSrZdJKdyunFqFTygW0CYQWdjCamXQc3t945mBQ74g9BvO1d4ZzxLJlPqSh+YONjXM5BOsZzU8L0u01Fu2BJLz9BshisBJZxiQcsh4k2AlPLWVheYpmLzKf4aip7Tm20Am2jXbJiRaJOuj03UVrZr6upu90QYt7ckwhWidbiclqoCyQgN6YjlAww/vjukg4c35vhcKvCSQQ0I+4hdGGrMT8VKRrG+I8Vg4lHBjREfFuA/n3ZP1NtnGqC0DBXq+9rFx/30Y/MTw2j+wkDuxrqT+xo97rNqi1LlduXm3tfoWZsjd4mceVyl04mK0/FoGUaOTUMFJcZyGCLg56zyUWVcywM6O8SU3jmechgakzgTgcfwsGE27qwN6bTDw9xEAKZwf6rIrlbcDMpxQ4+/M5ygjGEPLBzha7BwxH5JWoqYYvk2Iz0QPZcbYOMu2w3Uj386CVbE7MLfeq3DnxSUHz4m+uJfhARSKOPr1oTC/CdRa7nqLncyScGO2zRYrLb5EytDXRVWdr9s/76M3CCBh4K+fkPMY5X2F99R/eDe8LTwz8exE2mwz/KlFgCFrtBGVrc3Tbo4/f+aH/Em+YZKDyC3sulP1NQPzEnC6Yww+UPm2cDDsVwP8EwRlXbo3VX4oorUinAdq98YKAWQEi5V6BMVqp4NdOm0Pwi4IGn4V2vKjwTVqYhzQJ0x0QIyteo8ZoGPsk/uf4F5ugUtLViQJ1X8HySaPX0XFOo9V8tOvB662BTATL1FPSaDc7UMQZF6sjJMxGctWc3uvOfX7769dUMIFeekUC0ldFQ5VLc4DpWROYbSisO6BWipuD49v8HHM3oBuCxW3jnR6zvEyIe7vGfHwbC2Ov6uxFIzq/tBRWLePz2oLo/NmNgRvEbHeAF+EmJEWAv3Xp/5so/BHKYN4NIL4YkomsOzL5izJxkAhC3w9KAG25eyoUt6wiCj+ykB20bGxLvssadPHvnwYPIwjZSDzUftYGin/VM6UzH0xGlnzGFcnRUrMbupXlKbv7D97JBcNt89Hx8R7Ch+LVFXJmqS7YIJ5OJc4l2iuone+ayI/VvW0n1Y0m551wAG6/zqwhXqg9TVsR4kvEOtfCZW06JKsGbUdFJHPvxg+1hZuiin+NLMJKkZMdlA6VaWOoUROcIx9QopJINZdHkZJndjfcdaLHvdP6K4m6XQSUJHVFKCf1SPzKIrS9EYC+FLSFPeHEg4Z8DcNHU/hhIVo8sCBQvHw+rdL/6G3TyeI5uQc3Tx9dOosQFg7pXDkMVaio0sX4eEy073WUwUfBKmixO0zfw3xAPqF7TRv23vuEmc34CqlUKyhVjODKVohI+SpjaBxn76s7ou5mUCvKoJSFaHl+gQFu6+WqCIOwlxC1YwMTWmbOHOUq+P98BrtKL0NkWjNG9e7JaZ8sUH5MVAyTVlzg0SjOZip/y2XSSMl07RzHcbG2qiRf182TmamieznozMunpZUrEo/7xHwxLiZkp5iRutFypXMULJLp5IyrOlHal1RWqQguH9ywJcPoapZZ4GZGKQ3mhJFCp0gscBaFi7lzvCe+9MltDNEtAN3CAFWCdq5qfoCwN/+x4g4ooCS+bVSfTONJJT4RsApCsgrYu6t09ji9JM6eDoZuzD7xANqRrvFEhoQ0BexahWR1z8NzTZ+PBtOXy4YzHjNPYVDn/HtPc1GZNl3eEuvU8uiIhFVRN/G/6NTTjuz0Rjj5zj+1RS3HKWogrfIvcm4T4oHoF97DMc3qx8jx5EP6g64alaNHH9Ha9fSIcbnl0jVlIOUikiTTnsl9M9KDpE2nLh+fRh633ydxbEx9Cx6PZwTkWao3mdKfkwvkPcZK+mxV8K39CjS9n3BVSqKV2GdLHjj33F8ORDtd62cWjBndgGuPWwxIAnM2BKRn9lzCeTDxRjLxtbqUB71d1Tby6USaDRBHrsPMVoBsHHIFedfRAa7SfPNtnCGUms3xdKS7D7gIJc79ZNnX+0hSBV5Kyfk6SYY1PR1WG22XeuU9ET2TcOdb3SQj7u51LsE0H/KH8LpMs+0SykXPEwdREwIkOkyg8bCMzWOXh3E0RdW4wT91ycdrn+Arn+Zk/cfwtgWrko+6nzoCfx0IHrB7/P/SyPxsDD7RUIWIGwXmq6lNE06+d61bah4BzjE02nhzyofHLTZWCpRt07xZ7WL4+96I4zW5Vb6hxXxaw2rVRZ0ac03cZ/VT0J2V8hgoQsa+7jM461BIYmzTF99ZNoRClQRcURDretCgOlBsM8EqmIuPzjP3lw8ayOZZlxLnkoe1QSMln1EfvyUIwbU2vXHBKN6rBc5H2qncwVs7VODsjj0ZHSZs2Urd51XpkeoFGpye+xDAc0Z5k4ri0UHw5CQydRJqIpZsMfxaRsY8eWaIMyquBgx9ZEga7D2LZGxfSdWsqwZG4zefMkQN5+52sX75aOOvqYQaTwX8caUCaB83adnVHKRQw+Llv1hYUF166Frd4MP4snx6YPj36SqIT8nvaMC3NGOnELVK04TN40rnEUaf+mSvX76J7Ts2/t38RwH5vwIRsCH6ru8PJU304oxPYVi4Ad7GbZ1wtI8yzdV2d4TE1ZSUhJk7ITVJavBhvcrc22mKMI0FnVFSGiDMfSLPhGLwRQHwBIK72teeYazfC9Q0nGgJY7SCaLt9dgjNxwmmN5ZJS+ikTgK/5H9ibOscaJvT9u8Qq19c4tqRYPf+KU+5DSaaAlKAiguLgfK//iiy7F9mzFK0tstCBkjIFFHKFOmyoSMHxOGnKMpzDViIU4uwKkYR1s8uqcnifpB+lRlLkvThKdQ4CPjutgWLMa+uJJxls9L3fZsSE70HSg8a70BFBE9LoBeVMWBC7+hsuPJVhJAoXlB+ofEGzN6SceZo88X48vfjgpDcgBguPzUS+dL8SqSyVFZfoqqrL5kLn4Nq7UVKtDBBNzm7ALYooT9TBQwEi+TGD1Zuh9VWeBXP9W5v5aRWkIuWKh1enTTGUfe6L/QTIHn8l78CWoV6icc1GqEhae1gxjqjxRU0s7PAJJjn67sEDErAdHybiURGq4BC6GxYzKI33W8bWp6lwrFa5vNHFq+5WzikPFRg96l1bD9jwspUmWl7eTdfLGy0Dzm11QwMIlOJ17KrgNQW2wv2OB1EGEI5xu404pwtDsp1LhQH9HWUzaOoMNtZoD13NyCBF769mZSCyWGDfZ/LFzI1V+G19jLcerVlCEZRy3iqwcKiCg2FpIB3AOknSJdnFHq2CgiyXb2p30EXUba6/1z4n7+Zmn7l5dLHH20zYk5ZgbT5Ifdc7pliRUsW7+TBBOEJ36al/xxoNLWJfBb1V6hFtv/B4tCQeE67NQOIqnM+XXI9WmQhf3KN/sU32F7BZRtdAA/1m9Jm10J04TpraOiwTWKSnvFcBLUDWYXMoQ/mqQrF7ep/lClBqz5nOPN+Edv7e/H5Omm9LAd+/sAy3oqnxWyYe2o3LsyS6iSfsEfIJHohfXtI3BYxlS/Tmow6kWqtQjKE9Na9BFLaDXLiIOkzAkM61DCwX9vyZ77sTRz9bEAlHoKeSQPk37LRiU+zm8BGqQ4fat9uymqH5DUXhRlPuEwtgegYzp5twYSNPjy4gqGgZ8HKhMO8+xbeBQCIxd3aXr45b7t6goIlAfochWG5rPmnq8A5Nwd+I/C3kYpd+9Yawd2hNRgiAFdBKGptHX7Swd27hiJd7TXpE1IHOXzRoiA7SlViBsLfV2g+8tQzowwYqGUn0q25XyEQWQN4pyK24p2GicROzWf2/Y3RxnfgMlgX9GjtINg7/VoiVbsvgeAKxA+Uw2RjbnYc6vOSHpC0C5UfWRYbBS68qyHmKheL5/TZlPbuF4/AprWW/cBySkf08IJ09TA+OItiv5woYkCXCnkgG6CHJJb6l049UrC8kSVprlMTBJGjuUX87VCEVDYbyxL7cTaND2vKQt24crEZQrO4x8BxhUb8hxvAN0ZAL+aDA+0c44oVq6En0rMkI54+qOPCWitc4MDhmICTv9Xpu0UZPu3UdLSgGUGF4OSV1lsBBZoMztEVusWNa3xgzPEQvpOJ4ACQSCS5KpQ/kVGunKzMtV6mSP80aBU6DbXSvQVIQUbJrmYz+KDEJtOrBC/cxd1fuLXdw4HPNaZ4dHOe1SjAbyipXJ7FODfBA8PLsDJ873eMJvHTXA09F3qPjLd1kKAhA2uHtE1gtyRHM032zYSzUi1fQFjCRNG941ZdOyZHW1msiJWBhbHMlECZaZ1IvtegLFIGFtHi0zsjATxHJgurJmF7C2ace8LzCQO0Ch23WpOVNt5ajikvZadiDPL69klhFxD9W6VC0dsCa6UvN0oZu0nbdjl2YNsiukK/DUUlTOja5A66IOzmO1KQPG6xauAgFIANwqWY2jAerE3Q8wEm68PvtE3ik+CxviT2smNnY15k7Jr9LhX/xTDoVMDBtWW4TAtKFiYGkMYcp8PbF/7EqcunU5SUQlQIyxg2Gh2c0E5bRg7A6J8ZIFw0atDYCktuiswuZyQesO0Ab4UOSuWKVxSRFqp/Hg+FJY7aGCKCDfYDVCZKm9KrCaa4GoVMF2B+L+fiPN49FBTNMWtkyPnVAdcC86ehfTTxqaSz8/iqUnB1dJmXXsmXrevqkW7fcE4be8M0WyvkBrpXK1iDJANXvqX4fc2LmB/E7hOo5hU0B2SabWwPVos3lWENUCmLgEBM0fS/i/td78jp/bTMTf/tOarisIMj8qHrVXqcN6qgUWTd6N/gISJnOZCzBumz6kfqApYIHYSTEm5Nk0UAbXtBCY44iadankEb4Thq19E1sBRP8uuBm7t29MiFZyOM4oCJlGfwAhkAu9/gsEujqmOGpa4aTAABY3C7GDo/3m3I6k7Pj4F+cdE0nUV2ZuqqDOKvKfrL8gpH84tK17yK2MQRsr2bEuBPYeIYejx6esBVn2S6mL/lWZjqyZ1ffn+vWzjidQIGgYseJuLTGMj/jgZ8o33ZfBjLl1ELDXg/Ptl1G3aVWzC+UW6aOJ9//2VuPr/zaYa/rkySPcOzvUl1Vku9VdZ5+vO/yPpeeDBUww5oCgy19hGysdj3PZSvdPJu6MaZAwUe8DLj5Kcqc3bwC/ssxsISEX2MpqhwJXfjADfLCe8cfGbes2XT8z3oAKjiGHGTgbQC+ZmRlD3du+VvjXWcJGTBteP7tnDqnVPJmQXLzF7lIIjpNDvuSUqm8TCu3dT2WO+2sJiPGAX/7lfYc0VE0E7v0s5ydpqeOwdrvZ4q0f1l6xKgWXw92K4KBwGOwk8FMtFn0tJM9wOyNjABlPQRU3rUcizEWbsIhDWa5E4/8ViY/hdLcwPWVXM79xWlPyMWq5EIFNjtQrJO2nLzH0VpgWuciFSMLVsyQDJm2jigb8+ipAoVHtBLkCakRAPb7roay9zJPsWfVg8Bnn3sd26quiyB45+aGoR5ptC9ulC9vYhq2uSSFqWJ9/sGovfDSjl4UEn00j9TSK6pXz297WtSDCD05HM/Fg64G6Cj8kaF0+ZHt5E0oSZ0BMS48W7EW2d+FlB4YYdEGxVn6Ff9gNRCzy3sd3JbM7oiYRpKfmypNZ8kHVIgaxqPXUGFDoSFZEUESemKpypN5jjVy6E5/bpB1/YYKYuCT1SV7E6AhxNVUJi8XsOOTitR5Id1cWtxNhIrq8ltAls5qqY3BuXlA/KBC7kJwNTH5vbFgqfrSI/jcMrgN5jMDJi4JHoDVYeu/AAbDYXj81SvzS+Sbp3AQU/7HBwNSd/NmXMivYkX1DUwssNRRf5+c3X5Uk6WxB8aZdwAabJF0uAUpPOOb4QlWc1GWedH/hlN2SI18XlDDKts03m47aPob20HwWejOXzGnCHk8dbdVZgBFo7oXlHBDAd3beur4Rm+ocd/LVFval6aVrZJ+VN8sH1hyGcceio7veeKSx6S4WrDiTJm5rAvpIp/45GljG9Np5olE38GhFG5wCvkyu8m72BAdoZQ1WzUgqPqPuqCUE6BeFEQnyuHwNpmxVquBXc4ikSpIgsT9mvCkbh39DLLzuA4lSna5Ewu7sYf4/7avrfOVFDLxfHzhT2KFVupF4gDXN3S4Nq1R1IRYSbwxkfug/M4BLAVs36luCOIxPFaaykzfJR3RBzA2w5rrsy/+9BoekEHCFxFdARF36IScW49is7Zkvon/R8VRrRU8LWgfkqwpQARL9Yv0JCKySLmnG3VhwV9mfg24cprRk+wu9jRKTYkyCXo1qguqfDO5wZ25R0SzFCXAjMDIDAaUWrckyPCG0B+5Rq5CrNfxh+UUs0JHbQq3z6fNAEEzaO/phaczyVhG7wh6haZ6TZ1ikjiGdfYOtnGBMyRgny4S3cP3r/XIplWIVn3lCMfjXmY2gw7hFiINkTDD2qJ4wUNCepJ93lFSCSOorV2O2xoalRWxQv3/ia4hWnb3BYS8yHpYRrXygz0R7d3wz2btsFFETR6Ri9lFE1/+J+TMPRO8Ev7VlD30eCM2NJf79/hJrpRR//+sfAqIwVWa+ntSahkBU/Njv1Jsz0ladBLqHCDItUi6VaeOTFoo+F3HpjpuD1nJT55R9oqEP6EvrOu4kiyA/gJpCSLxbBTC9jAfk+HF813MvVAZ8baD/IZlgUm/XuihCC8Fh77WkE7MAc38xkEIEsuEejYRgHjiqc94iiakS6kvwVGS3r4ytJy5Qx37JMnCMfBPYePiunEJhnfkI8RnSyF0WZL9KI+vzItSwTBzG/MFuf7DK/ju60QtBFJM+AqRdDdnkQOIy5iWV6Ec3c6+MUbj2QMwWo7e4jE66z7UnpLsIt4HMmrr0F84vyS2/rLd0Qdzv61wPbYylkcU3XxW7nL+ajFGkd1NB3xKYLEnYTpja2BrNHLXXId/WRaajr4/YMJqXBN2yPpeOVqendOzGv/fjfIlBhUqtfcXUb+88CFbejjcIDmjdFaxYnhP0+C/thEpLh0pmphmsqvI1PytjQR+KvfbfcLTsclfp/lRZki41O1KY6ZlZw1hmNdpnkFF7rNUTeMh2CLCBwTABgjiH77RP9AVsPno6MKLHHlx2JyM91NbP/XWs9ADNO+uUa5uVQvRt41bFCtOBq9McNZ+pm12b7sjjPES0lJLVl3HsGtZbZuwjR90eNCY7G/rAc1u0RDMLfbc0TvUooy/4S2cFMjcinP7v8n1lOrljVUyJaGc+RkK7EIY4FBYqYmKkkyoEmH47RoGce5gCd6L2rpcRDtF/op+jj+PdFNKAAG/XuHIOkdwz2Ew/9EbQBhMG4+1XKd184+l7HhT35o1fe95PW5dv9SnfuYwHNV6YeUA76q7fc2MjnYS4gjT976y4z3uP+Q54lKnv8TiuzCJIwwLbJe0PaeQsHsybrLzJU1UxVXnghq2eOQtoA2KQBgWQxKaaWaMui+n+rAq6F4p50b/Yn0+9fjnSCaCiBvFJUBsi5V4ekRqXkOuH38q46+84mylV2LSyrvMr5u4Lnstf6cEP4+PCEbPEHxiGFieF120ePVqELmFIZ8M+WaLxfPtykc3F64v/zmExgLAMmDiO3UwZZiD8yhVUriiRtE8aOXKSucB9b02Xm44C8FD59TNYPt0bgLV2L5x8v8oGDC/K37lZNU6qM/Xho1TC+e3nZthpmW81aTlk+ZP7gGaFL4kD28mDIbJaGzq4HRJt2N9EABQeum8VQIkKTLQaZ+6/lXUPC3J/GX5KRsqN3jas8vS8ewURqgFSw0U4/m3epoRKd9qLQHHq7ILs7bUGOkQmMhYgN5Eit4ihkS/1OWdfWK+9bk2AU2/xCNPM5IVzTKF5XNb04AH6FX2mddsZRHBiYMrVBMLw2iF9yd1PupsqFnm6lIkSmoZxy59dMmBv6/GQgAPppyM9nFm6UBXqgbxTVjn+WEnzC2f45qcZW7QO0SBc0lmtgk7ROGqmBvL7oJsSAtmS6ao00//eJCr5XBf6s/n/7DKLl6UnRvEjXCr/Y/Ld+dw1pyqqxzKfYB99lySSaywIHGWbauV6HZjF6gI3M2z1O5R2QsMiDozWZLIOFrWkvk/fQ+AFESkAmL8FN55U2uydgglkWzQ2TdPGfWNFWuwQQi3Mm+Yjs6AjxBAkV7sp7W2ShC5wONxPZSRFsIfgztVWdGAUI7b3dBYFxU2BO7yLGuGEWriRyuR7l1xiULfOZ+Yl12L6MHftB/DRE0brC0ZX1MY31vyT147gHZvVPHCD83Tu827iSdcYJge7YvANG6QfApw7Gv5CNAU3cYbKwdsUZct3Cxa1rQbnZJqdVQbLszeu7xVtfNbqzK8uMJlRtEzhGzP6kX8UTwysMwGjkVhvolsl2XCD+3iKy+WfZ62ISuGAupjA9jxhA3gzLbg59AhMzWZFxHR98PSFmv3pTju88nGU9LjX27v5ZQZk262P/ZYLHGxK6pkgZc8soi6vMSufETQBUt2NXlbasY8TFGTQ6Iv+ZLuNKgxRJbrwWhcvBeIV+QeKuJ0ChKynWk6eLCwijp1P9YhiNG7O+3Zg/sgM6XQTZpzUt4qy6Yd6cMWW8WoZUlQeYEA2kwXeXgrJcL04Q82apSQb+6JfYvefA8JPtdk+szhbP+5YWCMqlesYF0HrbZPWUARYSDe1WFVgLOcG4TPITWTVGCa3TDPOKGNDrL9zLoOVQ4TCGNfNU+vEjlRP0FmebnGMTv5D7qtuV/0iXTF6HxIniByytAcrKuHY/I1hc8nXWfPQOmzWngT8z/5NEMI4BRvQYS4s6eZMsnJm+8ucKVw3jSe2q9GUMj+9R/wnTivpn3eUmkBAxySklv/LQZRA5y8405Z3WYyzx74eQLzQxHm6K+RYjckUyK54iIvwCqc2tmKYOoDmhG72N8ArvcLmJHkJmZ6NM9L7CcStGXPRsN9RxDbIKtetsI/ZTCUrkE+CjMwIPZ79WsycI3ZcJbOQwEGwiSK0TWa2x/R9k/BVHJ1ZZJWQNEkqQPNFVNc+3kD6Oc+Fzclkrzy7QjmKGStq6B5PDoT1hv/7K8JYVXa8iBEHw94jdggft/ocOnZTMwB1LkBCePTh5qHE18pFLonfGf9mlgrwxXqqDUspuE4eqaoM2wSdGHIHT1c4vd7rSw7ed3oqXrNTgOT8GUG2xCZ4TKqFAgE5MBPf1TzQuP4p+mTiumG7v8tWytyNZt6yk1uwCzSTf3grM1ru98E1MYN1kloq5Bumodc+89b7ybdcVgBe+z5R/Sm6EDqg/gTb3V/6CWqencCdCRGtay9Vr+MrokBq7tN44cfVeetDQ8vW/ViiZDo8S+G2ntf4x2bDGCLAIehkjwswZh+pVXhu0IWSgGeVNguI9w03Wu/WYyWSI4bwxjCaUiFNHVogX/jkvR2b2y8RUZ/cK2YnkswnbJRJBJlJRK3KBwC8+icwJjGU8qqvZobjl+Xz3U+B9uwZu8NUKbnEOD86JB4vCBvFIapB4L/PcjY8N1wbg10Z0VnTC90wBcgCjrKpbDLEY0DK0kPqlfMgVPhUjZgOsLcelKkZJZ1c+q9zZSI0n+YHfH2p9J6R40K4HghV1OT47xOa66KjW9mn9nUW5FYCEuqkMs6tjcAD19iNgkXQCzvyr1+04h8OMDMFW70vsVzbNMBY5U6z+meLd/TE9R7tdMAFxBcnEf1z8o1JR+1a2V3Rw7uOtcQGDzTVtnkRg4DixBkkD96UAgRSjp3KR8KSrCqfWfOTpXnD3tYxIf4/99xcEPvS91twUeIQtv4IKxLNDtZvI3d9J4MU8bswNUQKpsicDPeVeC2hzimHW+0sOZ8n06Ujzkgh1jGvRH2x4qJSd8isPO2I/16h34las7Bh/PyjoWcHeU87Vy8s5D10eVzUkpkscTT7qTZRflAbh2nMvyEY9hji8tI098Tu+7V2njFbbw1jAfQqj2kNGSRvj28PsNC+1To0+mLNXG3m93IWvjWBNIal6mkUcuRB939SPkNw1bLk2utt276gxHwgJvYvQJP2pH7dUq/OoTHToCbhlNrS0ZTGuv2GkNneJkxOCr4Uw6OdfeH+GU9IqW6HCydT2/Nm7o5IQgUzJFIxynrjpyI5SR0NoeWHkKxwdvh70ZTgcHi9wiFS0u//HDLndjzaa/ynXP2+xLkA8adJ7CmpkGG1hevnfTQTXgx/sUQwbFaSOSf/lpGv/c71gZUKbSDNWQRakHOpktezl4N27S/ewGQ6HhTHIzC++Lqn06pKbvvs2c4hQslMSDLMH1QqUOeFXp7hVex4tzIt36FFyoQ8pGJ2XGQKaLkhCRgtX5UnHjZ45IBPPW3HvQbZPP3wKpnVrw5gTE6LY52lz+aZDsCDwCYLsp46Sozlcx+SCzabufoipfRDK7G77SnY1TQyp8gIIfGKQSWTmv1FdlBWlJF13pG91OoKclNO+PERDvlCEEtYUDlfBCeqBd6sCKbLbmClgExxsqnzZTdXzipcnYreesY7qWFHufwawSxPcSOu3N5dHcGSIzIClIQ2bIlK2FQSsOSVZm+xsJy5AdyWzlwjyQgZTgOvy2gn7ojJkqseFR33chsGymlv8waKYSxwqxck3UF6leh9cvIb8guFDgZKms5/w9n+6RcLz0pnwRxQecMe2fclF4bevGekDnR+k2wiaKRTB5wG/QKq+uRhH+D2v6wFJc37GKLJdkuC2T3oJYAnVhQFCS4YV04x/I6HrR6nbN8kZUbmZaq/A8Uz05oh9rdK7rvEpFI36YFxxSpwulDkIun2HY+lbIf2qA0sTz/pscuP71lm0BeBs//jI3dKNioIr0diCi80F2L/Jt2VL1MurkbuJcNPSq3nWRksWMOAciTsgogqBW1jtiLjbYiXcwu7OWStNXf5mhkkUVrPTJ6arDp/drojvn4HKJEEJ78HJzQg5jc6e9qZVgnK1huXKqBxY+7M4mO3p9vkZKJsMzvntP3unyNn1xNgPrw1xQpjtQUtPFrPEdyUOarighu7QsdDLULRRqRG5Ft7qeX7mt3sJBN6nkv/kEuZ/5wn4yNCqAU1DRQDZNOEKpUKRBxkBrmcFhss3xfA2g6enO/eJRT07tEUtXD7QasiQksnv6eXgMqYMw5kwbox8Jj42tq9B6rKxWqa7j5A9pJnMu346mr1fV3CjHSIfe3VgQejVNZFjuUpi8MOut2iBzlPPTreXkTq7KGGK6Z8n7WyxJ+luSmzNNWE5gm8XNeqQ8fxt86nL9EKZWEgk2y9PhLMUByiHP1V3Z/x3Ir16flraD1/i0L+QMgtdq6B0onR2RShZ/g8jnNWK+aJtiyVWiGQTyuoyjG2Eo8Jb7h6l7RLVGgG8Fu4EBW9YEfIZwJNN+gdAJmE0e7ok0Srnp3zDAzGN8RQxWrJB5ewM0kBKT8nJaIjjAJozCG6mkA07QkMORE9h6K2rkyE04IlL9P4ek6TY/H+oWCawprgiUFzVf5YU5MIXdl6fHKD2FhbN1HRDzJU3ynzv1sBRvo7Qo0KZZuu8xewWXPdNZdaPZR5javYioPXMWmv5dei5yDY8YhFfC61YKx660998Tir0TJQhGIg0a3DIkZb0NQvcoj0IBuTpcCUpOlHpqUIwndtjutzPhG5Ae4kdz/Vo8WgLpBTVHHVziUSrfDYmswJs6vRhy8iNhJKfREkkyQSVI+7XKtdWMx7LsJTaAcn9t8nEynkVWInBM0dnXKslNSQp07SiR3edFPK4WhmfnGAK14nswN6ejaAocySVGBGsb6QGLnC2LEznTSJjnUfrhGx4s1x6qFzqvKqUsTPllBHNKSfntnjjS9EXmOCMJDSoR5kcwis4vbaaQ6PwbXfYdCcmefbTj9WAfNQj0DnNbCx1Gnw4jOAB0j0umNvDX3ye1acJx3I+1VVZOMfk6e4ur1zkI5GWDN2CoPStYP1HVowp2yV1wz3hElrwgVhn8AH0/o0Rbu885qiqJUhH63CjImelrGUdibfrXN6sHJvfUYqB7wuekN+nuZIiGUzsvXe7qPGEYrEqwRTwj5ckkOgMGaQlMy9/Iwvd+AWVYNk+TyOnvqTYMjfs2fyOya7OofiVbAk7QfF+fNnWx0e7VHlpf2I3t3SRzTIOcR7wJRLNq8XRTMoA1qVhosxAVfk2VNHgxzJFcskuyV9JrR+jytWg1IVmI/AfdZWGqvUOdl/4yXEpLQYXGYEi/GXduk5sSsHQ0zWE9LHiXUzI952bYkt+ppt92GoseExz7XqypKq1pjm9nkfyHAKRk+j9z6M5RZ3EpPRErEI5ofI2LP1TvWARauR3DGB/Gjxd1grHYnIobXYZc1qN7xa60ons6lpkMzDiIhKs7NCRVkgH7kaeSWuNrN/CNUj2/eK9zuNJJK33AXF5UCmiuGgQM5ePZqXj7SXJMBpgwffxUoWYZZD1L+fJ9mZIVvih0cxHxtX6Sup3LwJnQOhqiN/K6LdeXBUCKBSuaj3XcFuYJMr6WVT7PE9LDSndzPMzEnTRfWMEORg1yVK9RPo2UxbJF9OLWhko27ZkPx3OKBX7yLMhOAYER/M+SYJb2fTb1+wPjbCbg+s6srCOmChPQCwfoKPPrFr1J9S6SSDVQhJ5Qo+MPS3PdsfanyBaTzLqu1b9SL6Kimoegv3EwYNiojW2cO/DhZj2Ac59DOlH1sqSkXBIaqfARNXbWeUmwaaHizu7npP6qfhGXmZlf+x5q4oaJA7vCZ8MNb0CPt07Uq7ZmsHkW3vV+0ydy7jVN3YBTI3Beq5mrHsb8iOTzCvx/8s34Vd7g1Zn4lEM/0trnLg9GshST1cpinDRp4r3fkuWVL7x+bMIGbBr68mXKimsrN+KD61yq8q/toCFFata6hvqs2x7FatmBanlhGlYToFNaLktKcktGRqWc8RoOEa9wOMa9Xh+1xNIMHcvJ6QhJjJVgeUECIDH3A1zds36o0sLhV64nZswnkZ+xOd3Czy6scJzXDx2+Mk6zDDeaXchfmKrh2HckcdLrLHLSYyyW6ggXQx5/WbrPwzZIyWz0l4eheW5RqyZuV7bm5HcU5F5DJhbHVbCai5eCb2OKU6spvF2vx/zRnbOCqE2oe8TY8xyDXYWQ3R/SonOXCiaeAUDghctscb5PXrTlByzFxsnet6q2qocXJz7Kgre22T/ptIK6YerYN0D2ypPeY0MsL7q/7ayI8ZUeXiMNTrWC3FxtqyFX3WlTDvLMDfOqZsRaHFJ1rVcdFalaoBHfG9EpaawR0vTPf1TGXUQPzy6CKFdVSN0DZMSuuvXCCllV+3H/JOpiWOxBSG/nvFvsrSfXJOaQ775ej9Ti+vgBOqcDbzYvXy4TZOvqIiga9728QO4B9ukGjQ+EgjocIVxrmgeygYzDP/BOAKo/P24rOPTl4z2rkHoi83ihx/5IqR+/AZu3/UNKp5UKy/6HjEQZiITK6ieR028EtN1o5ZzztfQ7RH1hR09SyHhVBwuabUMDfNHjkeGMagN4HcaJ8eFXYegBjaVmP8Qdv+3qZ690cYg+nrWn3SlarpuptJLraSITrbYdsddX7l4w+ihaQXIg4KlJGT6G6fK/MABYQ0m+U8zN0nNlzMXDzXnDvLfOGWUQa7HFiPhNcs3h3eu/UHtmVZ7uhM8034MVQ9mnWzLke8+ujbH3z3ZilKuhphzCIv74VF586mjux/jpXOOu6p4dpegPMucpDGqTgJsNJFoHlZ7U3rSiX68FlmMw83TbZb0KMZVFZJs0k/lduPPIzj8XgWYeRwHO5YhJYzSQL9jRi+A5aRWDl9tt/Yt3lV+ke/rPHh4a63uM2mNstRlV0ra51i8C8xxPPAVPOtTyKmImc2075S/6neL6LA8LUM712MWZqZsfWlskctAgW76EqNP66TrmHToV4cBnQOjnDzPmjc+1AjjV3/BgnRTPOultlIsXXJAoYfS9+taCF3mj5wQIlnYiK0EgbspRvqdemf1jjk5lHPPux1pephJpiy2mc3YFZAuEHW+HyvfZHvkukSA0gQ1nZGuAJZ+0Gphy7DIbCtboYxLuzmrRY1VZR3mRjulSu9PASPGAFsO0oKmJXNCGXp3KhtSGFh1l7BoxLSxJfaKqNaf7gpDFr3AIeZafgLEWS+6Dir7uol3mF9yiSkqYeESW86/3mHuHzjid2hbUsIcT7II7O8HNYSSfbZI9swZu8v/WpOTtATu3i5YwB4WU3/zMu8/eJzlmonasyP9uMWMU1rG2V6+PQoidPbEiEI1lfc/mFlAwVeTkTcn3ZGF7bhRPWTlNIuDIv6FfTSPCxQo/amP+L4VhtYLMXE75bDGpKfehq2AcmWhwn4t1CDpeNbUEHyUyMM5K9bp252FW2D7n7QF+hm/gM/Sb1AzPd1lnOp74Pha1sddyOJPQbaFybIv/qKlJd5a+xsmVYcTn+HpAwHihFJyGZDE7eWXXVhsvVnGoxJiwhETGudZ3p+I25nUuZmqHfWSfqHNTKL8HFLuT0lX2oEuL+kTdcROfjzuyum9j7orn59sxyGZTUVs8ML/evXXGrUeS7BZV78qlEpd2pr6sAmYVJgN98MhrK468wUrCI5rUJjKa8/RG9PQV2/e2voYyaS1ZBIe5PeV9Luy2DggDxsCNjjFTAoBn+48HgoRVMEIk6pvbCyi1nBwSWcxjQzFb+8u0r/eh4d1Hs8NFUb6uZFnt8Kz+ER2q7KX9BbxyijHuezt6z0bik0W7s1fPFvlWv9MUCJ4ILaNwrI3s5CCD5W7+6Tt1anrLzWf3ds+RfPW4M8Kn6Df/5mqtGSVB33lTnCrBRKn8Ct5708G7XYuGNZ2SEUV8tB2Wpo/SxJFmSYJZ7CoJjDd439LEVJM05Fow+4ma4m79u5fRDwsDu4BH2QHcssfBrDB00a53XJTFzRD/zgBkz1uBqE0QAO+QntbEbbqeakXKJbHjzsyBzOSDZHb84fXk7LSqHR+hX+Nj+DGgoQ0iNEwAQbvJ6Yqcn4Gnn15i/hyFiFlbu8E5HKbxE6WTBkXhN9xxqhHFkD/jjcP0UebW1YM6TSOYLCGQLY5YNNauDaZ0xoHq5MKeGlFo+ozWP0PG02iknNwghQQr+iXvoVJJMeUzCTao+5VuThsVufCURYLSzpOwR4ajB6kjrVkVXPrKL8UyYjBz0uWJirRXBeApCLTGWcjSXF+s1dT3nTWCRpBbkNAxZDeMlHQ+3C84kCEJk9c6NDORQ32O33ptSGE7VbDtmweQQizhKz9qNYrE+InhOsUUWlOdEXsy3KL/pRqPOEgiUXwKvFSSEPZwnwuUj/TSvzE8DWijHWYXMa419Dcb7XX4xHasPFx2f5ZsVtyBryvgIEjSqqOMUfswC0f1XkN6uJ+E93KWfmK3w+CqUwZWr+YKncU+xGUrPZGApPmbrpJd17QLdopyi0nodjdB7gNPL17SslnRRXARAMf8yZsXO6bTV8XmLyXnyyAs01AoAtcE9PU/RKox1VA7S05RiRZHaCrt2Qm57qJBKd8We5fQ/7pU7wma60GMUD1fCfBfIsWIzsBxmF6udZjWTHNjvWeejxp+MKI5SqFBosxs7rDlM/guB99UvEtRuOb+poECSX2z6C7afl92AmE95Z26rrl0+EOZPeosJXOjVMF+eey2rVNb3DTlNJyu4sDLWOEIeKhWHN+3bVyiqGV2cFEAC7iUkJCw1lh9ym/zpeVZC0xIrOgyrvuutD3Jk4QGGWVQN4qG949j7hUbH2L3fqvhXm0ODkjefEis2hwiC1bpG6PwkbG4pPQ0bRIsXjBuzLy2WSPDQ75giXBC03Wkl1ucxAiDRn+T9Xy31MAsWyZjtc/wo9NZYZ/p6rut6HQb3SOVNKvPT+7ojech6M8VkSoqfgtlDHPXWl19Z3BGVKVaSHAjWBS4t0NTkMo4Q/+M4zPznP4zw8aKk4/BU/wIJlL0EC+A5O927G6bBfSbB8XLZB7V0qgytBLc3XMjFJ7ksYbqFSOBdC+JnOvQAz9M6yhJIIlKVBtuGnQ/gM/lFK5ffVkaTStve2srTie1abWLufECA292lwsMY3F+uKxQLn2aov4ljqXid87E5fbY8n3fs9PcV29KX2Cncz7AFiw8Oh+5/TdPd1zFW3JBF5WnsfrIKVolv6n8g+vj1QMqzbkOFGPCkuH1GhbsXQDs4mgHWPlQyiGsHTOXQeB+16mYW+AWo21pKu6MF4iFOOXWdPnj4Er0P8NnaUuc9pAiDA3vvXoXkkXCc4VCy23/cffI34APdjBdVv+F2vClOwqWIpMydooJhKRCzW62NXjAAuxoV9q6tnbcQO1cnHBlgrmn7Z8Z1aIgtj/1yxO3KCqXDDD30YPa5tLIO+E0ZvoiKc6iHg7Y/7EHesGk3ghs2uvvBpdnawo3xeJ8y0TrrsV3dIpEuNdOUrJgMqPW0p65fHzOZYHOgZiJ7DP8MRqj3HzWAWgH1HoMpb0MIhAKxyKbEpzH0MXUuiaWPE+uo+YHXzGfD1qWpBufXYOVT8fhxCZChqLrZeSzh7Uk+IzchZ2bcwm5Ll74cvX5SYHU2GPc7C+DlIwjA5SpHFqqxYapzus7Fj0E81nLmcwfO6mEwLngSh9MnK+0X58rPgETrhJpW4k5FGrms28pRz7+JMmMxDHHprx4PzlbkZs30vy1lA2Wu/UZZNmxge3SwACkBnIj36MtI8Md2T8zgT7TqykJkVGa/Rod2OXsbWpCK5G79XPtjoqbcUcLi4TH+qlcHrIpr40ZUZUx+rDIU3df6Zokntf3fFM7o0S4OjjTTVpYy9KfwsT1oS4QZ7HWFl0VmzOydNr7yRKDbJcJJ9Uzq+hvkraNTiVH7EMattv9Jr2sRcS00nPIqNZLw3Z4cAnGyePdnz+MLI6yPOjwyXZPABFg1GL2Onz9vLR1aUHcRWWmXzxuSmBK6TLwoMviOhgWK6jc7gCQQ3EaVseNuNQZTHhJHJSAaZflfX2yDNawZ59rp5VQ7mHVgk3D7pszYdiHdta1x6UrDkVn1hz4B4LtQpQLQ7gi5LiJCteeS2FFw4Tl++9Nu6a6YNElNEydE1T7GIv60AdOV41u38hqxhbvVUm3lTc5gWwprtJ6aGCYbzcqtVr3SRomuwwPtOK3JvQgbLAAWgeZaq6wR1k4GhxEYiTheTGbAzxvOBKasm9Jk9M+gSmlrJSrwK9B3qY+Oz3L3ckK5W9WfYaLuCHB8Gi4Jic+9jO6HlHmGlBPLKErDm8yVWcpfhdYa9KYUq5erpn6KzxFmYkf91fXrQ0ieqBzbOdfiBgwQiBIz86mtBAYJKXcWH8r25iiGc0RUx813/S4sPkP3KL9AikJdAD9w5/uWqHfPBD4jR/32RVX6ti+7jbAf/wnLiHpzvRbTJVpyLVvCngNK/HDy3p9tvvx49L0BHerC47LfgAaMhGeESWaCnuGZfJlYxfx+AndW88jQbmGgXPya4uAlY+J9AbgNuWXuaweE4EZa+p3bshFnViC4iCEYuGJJm7Ub8fYeUySuG9Zx5OwYc1b+8y5BWLP8wC/1lnrY1rvPsTafa/lQQI744EM8FeaBc7uGOZyj0NNOYW2HH2IEklWPmno1CpQp2X6P7XfV5HneUYcnUhbYC0LoiL4dASyjEOHw6Qdlhcfc3Jl6BzGRqsN6xYJSnCb6kPmR69SLjSVHwOeJCF3qlDDgr7YZoU2tv2IefPgYnvM/TJpR94VtHHITf5B5uppHwXjzlOv8PTgayHI4kzV+t8GnzpA0rn0/taOpkwnsCzCATV8o+ljkMKh4PKm5xDPywmQVmwswz8zOzKI78Uw+oQBwytp+MAcTfc8hGeEdpIxuV8hRUGo5pYxad7FtovyQBWn3QvMv0CiBUWTUC1M4dvRShfhuqtFpLgJGGP1EY3r/dbR/j/J7OpLO75DqgHDkC2IFKWF/Ru1bYb9t4wFrle6f1is7ASf9uCluZhLSdApFM4Ai4FtUIPmjm0exD6a3Lo4VhdZIHMR/rqYnv0NKYkbW5GN582mwH7QlY8zuQ81Q1H+MqMQ335Z7Z74crGHUy+yI0X1EituFPH0qOiSas7NxfLi1uI5D1N4eOjidvPlzM2XBjltLl9NZ8VYZZYDSdpMB3fx4bjd7G0nUpIBIow8DACncS9MHVI8SCkWjqpATx9ObmFpchriFIhmqeru1cyGkVJQTqRNGpGzrS74Ikf6CrzK6+M/sfMfpk5eOaWTcfyquJjvhEleAi4sC50tnSCxn+NJ7vV7lQJH6LlzdSeABG2f24yTB+ih1mHJZgchGxi60PNlOXkXt7jL28/Tz3xFx+8f2fWY3wOROKhwV9J/Mp03XoKXy87JUnL4c7zIwN1Rilq6zXyW4/qM9yQkfxAagSN2mhvi0ALsiw3J6Or5mQdhU9wFsrRznpCj9fdfYx8mY3AkcEH8jI08+DPDfqcu0pdkq/CqeM+1/I6wDvUvRDVnANENmFES8TGeve5hJXvK9jkYbkuGSNOlIzo6Bj+NQpZVo2IRMTFozF23tx/TSUzhPO8+WK1ngNW6Sc+JcmeFS8yC4+LByvPwMydmrKQgBT6v5awvTjzc6T+DT7ktGR3ymZdZCp11A1M12R/NsSSkjxg0IP6j0SYlSy87MNNjru74nQ2+7buoeUclD+kdc09cH3t823bNL+XxJ8MqZcYsCTCwJCmnHgi/N+zu/rh3K4f4MTcyihqD5oUstRwCIJY3GrVWLRK1EXkCEfpTCr6LQjuJHMVZ7oEhE5KZ0uJXPPxHwLBME/9Za2kqPlVy/0zCwW4TU/Dg2CfuDSAMU8UOHffwwCmFD2F4GsD0RIKcwcdL7saQL/g9XQwSPmK79ucFwhpNjX3TKSJW6RBUeLilgbu/9h4JEMCek1FwDZNEMZTh5Ad6GRh6SJMPIEhHI4gHYorGuuxm8z+5S62Pr8DYHNH72X+st1Gr9AHkqpBevIXlweScF5pj1MIL+2Q41smpBNLbO9vY+ztLaDSgM8565h3YNX3wty9s2c6+odtdxXLpZFleiMbtz01kb/XzIEP7pol9BnksJRW6YNaEKEfJU/hJmNBM5QNvZ8FvtR7dshihlX4ykFO+kVA6EZfwV87PPwXL5kJ62zFOMHD/sEYp20gFrLMrRkrHstawUJjoBI9cTOgGXDwoqzWYV9q/OA3Al/w3hGsGCNSlSIi3BkxTM8iJPZEeIRbWUtLeG7Jl6FFmJBL35Aki/I1+s6uu+WKt2UAfyjpvHs5iQgBp/RPA0v5fi2w1iMcKKRPxHuduzKCVa7SkzVEQz0NPzpFv2ZslxKzRwmQJP9HeIyUAJ1riChKF+kRMZHz8p5p7GIyfLAePPRymttmCZqS528WsjT22xpYf5M/cwIxyl/ukX8zgCMxahzhpBB8TVuMxEJnluPgjFSq/mfRUNKUW1DB8eKNLtv3BTHDn277b8O3Fe4vqvJhf+pQhP96zjD6ylWDBYy/TSL/E3mgjFjory1rFFDFegfTs6gFo+I0zclqo9jfoF/H5NabB2OcVNHwIfIAdpKOGWc42PlzVudKs+3epjjvzI/NqGpsVrVTM4RJ9+nuM8ZCCgdCpcQnBzD23TRTdecm1sHA7lKs6exaz7oHBknB5jczOhEhvNv/L4BIGgv9PvfxVkY2o54DTTzUMufiLe4NRxtK2VrMwZVnh6T9q8e7uh43dHXnpjdsV7EpcAL9f+SEaSbnlShosxFqvJ4vVyOA6kh1izyoGbAm2qvfjh5oBqdeT1fwei8RDV4Fh7LC8yy0iscjjlG7dBY3R3RmQUiZ2LKRIuJdXTe3IEyNKyr8ofw/3F1Un4ROqlhdryRusLtuaki8TqzdaRWXGn4tyRaUW8gAmBBAK6SNn4RMI3JtFvvfxkWjsVwCwgz/PyxFSWGKD8ofpVYVPh4O9abzl1ua2Ns6FXn+VaCV3E5f34Q2qwdUeF7nxsIdXb7Zt7/74yuaGomyC2t5VTPSpXghpNocSJWPDqUnuOARCuP4i+Im0JMao5u5ixrduZQ2wL5TXAHWaDWFjAevawKDyGYxs+B2LAvGHuZSgk/w2mSMIF8G7lEAK69QNJLaQYyBTNnlw+VkaGwWHSoyrpbltwIRWl/blkczlHlGqy5c8rd92HfDk6pcAO/QqSdXYUS/pDZxRNIfuPEHSRTN3oGQDTS9IqAWXdjhQcpgQp2niUPtK8xQ7YTLRUKCTVxw6g1hYK6GVTcHlTsu6E+7nGecqw+VRgL6qcpZMeHJ796/amAOGjLov1lqFRrTKEjXfSbL3LCrvAQXuO3+xVle+KdUxj9XtKi049elvwl1tda0fBPfug4mvtjnGjh6sIgujNWYEaMfLXbpGbdeZ58V95r4B+itz6ngs9LDPIP2UXFOXvHNMVQyRLAGM6TrT0MPHX4UQ1way1eCMmlmBeVE2STbRx62hO5nrdNliTKTCSc+zDAFlelhh1xEgcxJ9GOctStSxwUQxVIZSEWB7AgbBd9zw0iLtVTluGSJulcM2DKTAIJk5EJVA4G5KEPTLe9ynhNyjCRUSNtFLn1rIFcmDmMQu3mf5Mpzt8q1Qf6k10GMHKsTiJZk2HRMq34nE6JRm/9XuChaLbcV8Pd/0WjvYi1/zuiMQDMicl6ErEWH3jqYMwVgmvyBihsMnNDgawKXLhkULA/SAKI8e71kwcla14swNynrZXjL8wuupWEfpbZO4AZ/RKpNgSqYR8tkxCbiGDm3CPpQE/VL25RTBtkGQwZykY/b4OeGr/nH5HsN4yms5X4QkhvWcns37VrSVGwU6f4D0AjQdbgF3tk2OC/nGmq3BZYAJO+2nolVWuKp1wPM8V69Y6vgm4BACL6UYfE4cBLiW1GHeQ8Z9nC7YxBhFJAl/goO32nxhbtmyr3Va5f4zvxSOVjarwWI2oVxR3r431il7E4/7F8eebNh0M1gZkOSTX9SfKbkaUfgfUL/5DQ2YbtMUc2QmO00KKYGxVaeFo6G2InqzDDSx7n6Pimir8k7+xDcU9RJqP1/VnLNeNnJnzwM9SzJG5au+mExTRuW+SA0DdWByFXG+0nfl78UFQUd7AAYqCFex1a/+y7MYGWF2nraV4wIobPyeuuzJIsn57GvaaTFiYOHxSnTbL5qzcu4MS151KYkUBIm+7dLAotGjprqbhRlZ3L5hmCvlmJn+bCbDicrVqkO7BhHMP17yFvyiCgwSCwxtVIaO6+ieJxE4GZE+4arCUdCJbIRx1Z52cJ3MeGLHoTweKH9DqtobPZ7uXmgndNexJ5idoD5vC2FetGocURZD3M9i34V/i92Gxlt04Y1h82QY6Pojq8+vHdjjwkwsf4bP95mCxUgix/KnswvjGKPPd5099tO7wzwzmb57qlEEbcct6/j+rHJyLfxTrtG5QV0+/uJFqhJG5DFkovt0CxUtZ3/Ibb5/g69K8/OV/4si805EvNvpOQNMffuqf8UTS2lFwoPhfLNMyuWKEWO/MIHgBXIijxNqjmZUvfYTOLXgvPmVARpnCuWKk/xnCrJBsos0D0BEGPBQTcxlGrMX3rSyJKBuPxUVTl+kVcXTJCmVyrROfGeM6qy/ETm210NTXowCnEUJxeXF8/ise0QQhtQCAjkBlWtZgazBweykxz41dL9Vt+dfJfFNnyNqILGvLrSZ1Syg1LA7bS5+GsbfZKVo4iqON5kTVCQ5gcF+8q+8/G+EHGGPHgw51Hj09k/wb9VnsAg/5F2rGg82dxPVmDe6gXG1wnGDPFXx6SpvkHNWzpejZJWuWMcnBAZlEL/b0cfNXQ/DCPm/F49kNk9sP662oJHjCRiTbS6LXML1H4DnLmJTWfgREJijR9pKR6BLvc8pt3FHyIDaVtSsl1F/2aBmoYsg0tzQRWwqpKk/dE+gD21ajUdNKVNVcrTvT32S66kRBI24Hh+UJeM4vS7HT+5pqfiKZwsNSMMbAmzxiNw2LACUlf6r8fLfZ31moNFeimKNDT0/hqlbDmyGsabldGac6joMiiDOv2P6aNcli3DkHwrEbL6Lkoclq34qkv95ZWQ/BsvvAx4VKnexJUxJ4ssmlH2cNAbJNTbJE6TL+Nu6p0A6MNPCkybe37bZ0KQHKqdNv4wVMl+WtJ27akbRzMP6niwDTIgZxUzIbc41nh4swDTfKgvqvs1jzADHr6Gkr6wuMdmqQjB/ClzIckB0YnmG/V3BVdjlBAOCFwwK/YfQM6H0oC4dXA8xqUze6hohKc72kc0CsgY3RTYxpwUiWj+25vmna5mdjKQumJC6dwVspE27u7cDP9xXhr26+5ZuIc+A3aWzHyn5o7SW9z34e6PFf2ualJFCQ1jGc7hpg6gcfDyN/AkVMRAZgv1X+v1seHyK4Ki6RLJ140vYM2C0iNHg5hE2YAwdgTAY2HaLtcBtkT1tRBHblp5tUtnH3knibgVgbhs54ypkkheB5/PDfLuJ8+jDDvZ9mHT3t+7nbt8xxVrLy7jJZcu5ubNpS2IwTvyIrYJ+cZ/+HIoBgJsuq6LjLoaWnq027To5+kwQgTtDHIbH/gpXCSS1OYYLBlV/P9yZ0SITPZTZMXLfQTH2Yuj1ekB0hPPUzWZswGRGdkMstKnKKmwfjdGpIXDhuXmkzzVgRO/7VO7DgImh/ZGhAdYCKq4x0nc/x/vNDh2dILs7n8W3KqqdYpGQUq8ifZztdqWjr6kzgnez93igo0iOwCenDwy7Cow0ZF8jy12rLaHGtxzmWr1YsANqZo9G8U+r+zqj3TbtftQZOPUQACOEk1hTSeqhyEHu8U9kvy2WEbS8vEC5E4qBhXzRZNrBq+9hHW+eIcbNI99bwryiEvVEy3QIShAqZsrV0z4VrSNb7792HqZzZVNl9akZ8EGa16VtZXLn2U1fA9bpda76tstM5Ng3KrKVvhDROPw+syDEfBzRMlSPMlpP+/WUIQH7KnnXIlSSguoJKGHdqPALnayIpkBif9uq8PC/oh8DIQBu/HzgL6Xo5BBGFbv/XVFiIb9oUHe7+u1nB/8Lt6qFk/3e2M/Uyx/hhQXOQbebWKFXVKKIyXfu5LEvDlFm8LMoEqTdr4ckDwzkdGjaPXl/+Hnz6IcPjdz7EyKqdtZFJLJnLxdI5SomTRQO2yaz0SDxrqR3xyNUwXQ4CGrZAFjnyU29HHJe4MICuo8zqGBc3i8RVh021f8I/RQFeGenoKkxhigAvLIsjgFUit+s1ijQ4np8JtmFvW5ls4R9jyZTwrVjnHd8mhdJiFFi89hAkiMke5WWaTfDOoSkOUKZY3E9DAPAwxSDpF2iakuyrLKeIW9q865TG9MIn2gt6CUsk5NRXAbRt6yOcwXpqYO7gB1oaJjA0WqvNwy+PiwsUV7KPKfzCKHF0RyEBXaPsSmHEW00zpI4b/Pr/LoSSqB2QyH19dqUBliJdvfEv55KcrqoHlM22LxCNHjzI/OsIfZbSBYAx/2Zb2fMx/3U6ddMww+JFJ8y5LtnhV8pirfVbrCMlF4yhIt4lCnA17Wqif3Sr6sQOkb2q9dA2zZv8wHRcG16trbn16cE8HicCgmNKUXm5GXv/U9M7yHudeDmEXQT+7l5zdKRml1wkcIZkAxhhDNjexjcBpiaulOfyXAE8LcKn/a+NqLCXFMGJyujiuJQNyXdOGPSJOBTIcuzIu2X0agaCOsZPxMihEoNGfP2FYmw7e5PQR3UobIW1OcvgptK1rk5cTSx2PKk2VbbrK9/rkjXplPnJZCkDsaxhEmLbehwk1qHze4zHVWy7vpuIS7UA/qukyO+LcDX0Lad1KKFKhWbiUMTYXsnVRfcMm4eF49uxiyfKwNjv1Ol/R3JKBHKJnnpf9/U3yw4+RotHVua5sazTgV/zJCNXH5MebIaHO8PwbXrg29afPbG7AkDuNr1+/TQmOY3jZFxrAqziH0gOzfbTjg5J+WcY10vOrk30dq+ieQ7fhyr2dMrZWKiTOULKxN4cc39v1Be00aihE/yuBmW9ozPGxuItJaPW3IlndDTxsUacRFol5a5D956eqQyu8lV7Y1lXNL17CQeIcFHgNOHmTPw2+xrD/vCYol9FB92Zs+iauom/kXdyyX5qzAwRpQtSgCUzFICuvQOnp/zG+cClM/feeMBRtaE1yHK3a4OmmcGAgFMEPXyp3uw+ot6wA3EiTRxh7jnKQSIGLdJbO1JaEXMRPy7pinkkJgg2+wcvtKfinNNnNV5ddUQnbCC6um+u0DUtczqjp0mCZjXjZQQv9p83M9Sg1MQB8/kgxV9tKBZmmKgZhhF7Lc6BU/hSFzr9q+2sowfYTh3xqo1b4dk/XgilLvpiVV6NYHb1wg84DZDLK2sa4iN4mqjXkUlpAiwZOLSIBY7aeistPecgw/+UdBMPKCtd3soUwYsDT1rku66UoXWnGzNVdfFuuoraTF7GXWS7c61dlBPS/HwS7zoiBgsNA0ihVPVqfBkQA+opetseNFLcKRVPN5ozrOc9u5PeXJ1Gx0BaF83R/QkJizUOjnDJa3OoeJNg9ngdfwrNpG1z4hWPJi4ntDXuDszzFcr7hSPF5og75unzInm/LHBymQV0DGMCQmAGoT2+EqDUpxngsW38LOK+11neoNKVHUDQGvXMsxVtnkwdAnqO5wI45h86BuKLSWBM5gCUWCTMSyQTFCmPsrPJL67VHQncXfWPoENsK/kkYBWpuBLxP9ov2YfsIqS4DIQaGO/tSqxjfz12kdoDYC8oa5Jejb6zWaz7qZc0RbbrP9AQdYQAoa1Aj+4oWRiQmwPPkLWFe2lkbOebsupGT/mqNmS61jDitv1Kvspe6frowFAkqiuO8aERflX7O6eTyTVOs9rB0d+md/OV/tb02HHryLhRmaSZ+Z7gOtuRdxDcuVpjBEwddFMG3NHqKvIgVRGrUVjLlYqG+NKC/ankPZ9GwG5ZLJkxtLB9CtB+5vXOz1SQL0IlOVxApzFyngjA/2zdDqoUmnK8VrgfrEyI7QzKv6mimCTZsSiNNdb1A8RgLUElXF3EKW7t1Do0xN2A8sfoFJ84SYBHCOZtUebXh3dXziYY0xdSznOcDL8ybXUmeZsB6VLCPmv2d9H4aq08wHPsAO2FSxrfS80EEN4BqeMCBZ0+9j2x5kdmZhvfWkyDUnisdWR57KRB23tiuLpR/6JTKmOS2ySIU7cwSeiLvS4JkwuKaR/6SnrseLNNk30DdGnX8F5KulzrJ6RLgZ5nQH1iyBGUlaoDkvL3BzxUXUCdqZorhxV6GPsibvPdP9WNORM0lZQi8Tciv7Eyu1TjArFulOWAKyK1n9BN00eWyDFjjrTdisfYMlNitbwI6Nt9h5Edt7vo5sTW7akeJwPAogSg3CZFmFTxPY/sb/Nh1lMGEMpd8vWlmXDTOP3xcZQkklkesSvibh/889OR26+P8pcJ3+oeFycT9wlP+PQqjYwZkxrDzhfHPVTZQaWdz1SPpGg9Z6wTYpPzDpyTntAPlHqrDLIf005+MFjtrTGLCxdZ5eTz9P15lBobGckmD+wSegQa4d2xHkolzDnEYcagxHRDPLq6OVzHSqJY999BNjQRJ9dYybI9IEB3S4sXiiyXlD7NxqjtZNV80pazxgsEnBxreJRXdl4SI0iZmmMeTMseVwr0/w7W7DsNh8Sh2uFMmGfN8Jq2QyPKcXgL0HCiKY3aEDKoc2GfvDgpO14VO1XujkYu+IBtK9itDDx1+2AKT2GCR1iCW4Mjb5Xuq/t6pNXbHx337V0dB918H4Tww+1tN8hWTK0eG6akmCmAigGSj6IcXQWKrf3FcUQ0FjJmAPNitdksiZUDgW0KvK3lsg27RSBzOcRL3anktXeM+aUC+KuffkyizBfTWm9f9sz6lU4e3e4F802/LMucjx2FkhbfpEwkgV7CI/dKZSsHE37ilE7vm6vA5ADaciZiV0aHsU4/rT3izNaxK8u9wjs5skWnsnNsP2etsacJDxT+sifVqb2nX5+AgwWdb/UbBypkg51RtItgUGWjdtUOHKs2JRm6a6g5c1wIdSUKWvJ5sZoxbw2ldE1ToYDHJvj50UJ9I/JuOXGakLtWlPivAkoJEc5jcllbyuZD7lhXNiAYMSN1W/iKa8SMzA5BNVW9TsXE0dvrv/f+X2OxcsydHaOdaC/ogQdliIQfg7UXFBq5KO9SVgcua3p7zEeONiSo1KtTw3Vtv0Vy+bRh+EQEdcaHr7kBUnxFCV2EIhzlHKzkk6Tu/C+Ua/9lICVTiUMQ4SPgLU22PRXXMyB9Kt2rIS/fH3Df7+BdW2ifOmR92yZEwO3APS4Y2LDY37Q1a0Wzwsieur+w4GCATStbWqRPocoKxPlWN84QAJdQVX4VoLFdYrFS/zEyg8x9/qUr7g8qPbCDiIpeYJzoW6qSkeJt9lkbEe80fz8P0KSQcpRzhshOv61j0OuHHe16a5zk8z952GuvBpMphmsRZYU/cpPKrM65Yqr1LQMyki7v4y3pmLwOKcCwH3JyAYfZ1BakRIw975k7HVd/NjrB+0+7RuQ6V66gIZJDn0eajbyuwntKp4RZOh6Nofq1LS3Zl13Ae2H7rT29btujuz44TezFH36KJ8kzn5Bg1AzEey7J3uXvAgiapt3IW+InSqn8FesY5kCokKU09jyshYIAS0HlailIOmEWfGMIE2pJMOldqB6kDDoAmBArNHSPi8ISx6w9u7kf2n4QhccTAydP01ugTgjK990DVsYP++bHIeudqckDoHpJFgfXZeSpR9q6Q9xMpyNryiZOLAbyLvmtXcahGc/iCVhbHkk18yx3kZGZOcUD5fldCSekSFXEQjRxJsSp+jvK4PN2DXKyw4toD8JsMLJfnGIOlMeYRiYR89MV5XHPyVfgYIN1HNRDeptJCIE6Z96bK45tsJI0rVzE9tFHq8u74E6549OaboZfS9mvuovtpscP7rREo4p8ghZrU21eFduhqy5DTF8ScGWlpGshipav9DK6p0rkK+3ecxa9qH8WUTTxzkW/19vgG+G29kgygM4MiNA0N5DsvNYuq4Fqi3+NLNcw/r4kq+LgZCM/QKwPYPH9DphdPFuCARCNeDJFfAqUuhIbZjS4KdwzzbRVwfmIAwPXt97hfH7q6srVrNrtZIKCo/jNAfBhqJKGz+LAwesvZY1wkgn99YwnEBv2u8/47Ls2wM1VK4Bu8G/uNV3wHKT4f3Dvi3HxIkkPyub5vXG2DF2qBxW89yfzHc6TuUE79jHm+fINdL/EXuKE9bkHnAth1yPSQg915p+t2limGARZ0CpwtS7Rf/Rc+MABL4cMlWdhhDIe0Do61bdIMkzvuXpVPpnbxnedtEiSKbSkVbEPk8h1jJqrSs4/kdtWCFgsKZ+VbMl6TEid+Q59CTXmGyduGwZzVO8RbGxJNjGMtqUy1/Cz5EE8ceyLepVxsxYLBLSfGTdQhMqVqvd47jQtef7n04ix63PBghmf8/EeBOUI4Zfl4pQcNTt+mzQIuSEcWtZ0eGAYnQ9cRoqdi5HbBW/jdb1ZF+SDmNbqMykzEP3QXMbIeaTrP76iEF7LD3KcyW4gE6W8VBxF+Rw5sQN0xGJeMP468TeOfZkSzVtB1NFsApnFNP3huHVgVXsvqTEbvwbXj9hrH5sBY/od+G1EJ+HcUItVljU1IB4mazufXoz6VJzh3pCDkpAmQ+mlYtpQdJ6y9ok5XNjahJj6QPZvuJ9rFGGqW8NHqYiRHIIBjIS7paFhrGrsBXK177YSyo3LXcqkunSTwpaze4jaZwOwVr3lkcsb0gFoOR/oZrJ88OY41VkCzH8QUrKRvnJMqJc7GQqM6uJXG0HYwTT1Q49kd3brhar7FkooVe802OOjEJLRJbDaoyqBbcirEuvUj5RwxCm+OuKqt/9RibQPukBkYTukmobnzaxgnFcUBIWgowMf4ACBIcSq6taXtxOT7Jgf5ungkg+1bl/P6GYT8MGpeEL3Ouf7SxZY1TiIiKLxhmr69Un+bVZIH+fdugFFjPkhrKi+hnR8Ggx81BWePiFfv8gKRu1G0wlT0Gog300d5/a9pml9r9tsyDHqgB7deK9aUQjJo/jwqzhwR/oKN6Uq2S+yOPXHMA1sgxhxt8QIweoq0BsWq8IrvE4iKitOs162sXOPqWspQsW1UZy5Mj2lpsbWyrYdUAJPYZHmmiL57hsaqw/O+qf+q+hzzR5h4k6OhSka0kfe1hfzPbgfMcsaAz6FoCKqBLPZscuz0pz8gKdCsXKc3O78Y6NvotvpYwNmYHgQzPKl1AN2hibuSsZ3BmQfDikLXDSiGoIZTe74YC7w/qL6jyVMM8eN3ha7lJq+JYOUc0/Im0jYWNh7Q0kZsKUrWu99YHoiPZTd19vPrlUqyK7X4OT3k8dgZ0gAOOMw400jo1FPrXj1Vg+dEm10OTQIBOKIQjFdIvKtfJQ9aluOgC3SVjLYvQ/PILKPQEQDArM8COdt2qWtIStZZs8NzTTtJKV/71gZSWqAybsgFVLjmTOBqA3NZC+Ofn75iqdkN7HF94QnYNIQc8axpfhw3Hfb+0Mkc00eIJjOIINmUh3TBB6eE+aH1P5BPYkjAzqZ/RkBJZmhTpaSYCtbKcllBjdqbkx8XJ7RlQG5KdQ5oraR2vxc2kGZa3YN9P1QKYokWak13+0ndxIptUVqxLqS/Bm+0EidDL7mGBAFmdWjbKpx77O8qBUzBKyN3qMr4vcLBOFMhLbETQ2oL5aA4HgOzCrT/pVwtKy7gvRjhZI5f6ICe9AoI6/yWPFQ+FNgNdEx26DahszMYNfr5ZQ6SAZWyLMCO1bhYPdtcz1+M3YXIhi2zZEde0IEcDD58VQFA7zLuFWWqQgcRRM2RuNxWinHs0OqrgEwNwyyt+MRIrN92uWUGG58bHRX4wWgPqdBMC4Iym5cFaTndng/jpGq7cW1vINv4HYoY4cWOVQ7wk5YoVsDHmBrShkz6+VwGMR2B9ioK7/zkk/kPelQ1AngxOIOww0a4cRPSx9cDbLn9MyPnjQExRJlI5BbX9cC31kbFHoRx3P1F8s+txAEXgDSeVxozLTomfBTzzMErIofwcbh+pPrlm2o2AtYs4ton3RiuqdUczh713haplbiH0IeCbsmkb77ovHdiooKvvQCziUOCr8OZ0vu+Fvl4zu2fPDpwjFEu0DriwphwE3+mmnzpYDFndb75FZeouCWCaME2t+vdt+VjXQIcmYE4tbZqs4zO+IGh11QGcRBEBfo13VN8v7TCl/em5Pc1jM+vSLWAM/3sUalKYcq1w4MfONB6dO2wahZCKamDqdhy/j3z4uAtaT87ZaaXRX1rLYnpUi/SgINip+udzAOhxAszr10FA55hBuHyk/CqighF0hCT1QOQcZlkktXBWYZkvHhQUpTfzzWpcb4a0csY0Uhfwu3u2z+y0YX0r1tAMt7SMuz9RfI7imLqFVOpyjTi2u+KzV/Dlat5JzHjgW/dWV+5FD7G4RTApiKs97HvSRwnTBvKXBbaaS0wQPVUt7Es/j0qW4tJkTOgoR6nfRB9duilUD+ZFsBzHjqjsp+bgcf1H1W8GgBOca7y9hFZQnkzkTIrF+1dHJwbQVUcyTcp0Jn0QZ0ylUa05+uN/+9VSHXXgT1qF8I5xn4lsnEMG11PEFC26NCsSHmFriS0PtAU+4wsKJIt5vhupIWl6umjuY+flklNyEpiqxmEq3EJhwwO+upWxtZQTuYYNYekKhTZqv9s0ePbLVmhjdSTK2mh6Y3FiNggNqBeMfQ+yL0j5UnL20pecfN/ujHkYAseP4Y4GUNenjsfpsEWPEdR/gRGB3Xu8LVZezifzpx5+NF8twr8fkUULXYGLPwQ57Xx9tjI0wmoaSZyzaKOECFpxv0qfl8wNy4kf0pSsR9feSJSH4Z7JghedoZkPHIN18hWhoVIzICvoDcZw82gR64qQ1CGzNUzmzTe2NsBdyDoCQcRNEYxHS0BTb1Z/GO0F9kn+extLVYqDUQRc3Haj6igaQ4D9iG68y3ulKpSoOiD77XwBIU965FJVcpAucRa/+nsiLC9zOUsad4ceQZkmkt+v03lVtPoB+IWV5jsT9kYPoXf/Hey3hQOUZmxxn9IXM39Ie/QGX5Hyyl2Ip54/yi1zqTmFSnMUm0Gn2hevijZ3DUAtWodGntNUHQGg5TNtyHpvX3yPGyh444iQKSQHV4dPmeJ3U1QbX706hkGuLPYFIe2NBvkxxoSPnH0ifwoX0VZEh8thf3ROpXSJ7byqWTl+SUayHjnho1mKTRRQNFIC6tWYMLtHfhR2fFd9pcA806PLy8fxh6ca6w3J+zdhzoEwVQK/aWZWr8KjUXSrtc56EdGMRKBXp90j2Vvrja7yvu3JagdNEfZgF0MbccwJHjYYaHCBy6F/SC/FDG71y8uyVVPyTvsaGHhY4yBD7funxsRv3KLVMo8lWnfP5minaaLe3ZysZB/NHz+eRU9wrSbJtsvMcE59mtLu0LuKRKLT8lQvNbJiYXY908H6vpLSJ8G3EAGjQH+DKUfI/rxUKTviwFiM9wU78ZcCwhQ8pyLLHEes9bJo605f+rh76imRx2MVHB1ozRFB22E0SPKP4V6eyxDc+rDy4XX8+1kPi5RsmUcQnct12gzkQTycRJL817QhBnBs96XlFbomckRKGY2pTp2FmBF8OJrbQzzrJBSvXxxv5d1bXgflrK9pIQ+JsMkdVheX+4EmIT8VnBotqtEcwYAg0ErQiW+HigHw5zmsiceWIAU8mWOJCZEPagmIu9ggJHr9bhc3OHS8CuiBrrQof8Dxfon6UzdcMa0yPvWDkm9cGczNfSInEmhEvLTX5YAesyTIegV0o1N2gJn7HHdLrTKzt0VIva+GaCIn0iqieyCP6kY9T5u0KQSmZvu6rzBj+doKy3mYukCJdwBsLmOgCy1/VUv/0IsAKSj+Fz3VbLIu0FfWDiXuR0tAtAIpx4a1nMuel5UZhO8UBXzkdP9LX+R+4FxuESNruV39HtGtQ5ya+Mj+3/KREE5rbOMY+uEVgqe9PITxnLNgFuf7aOws/gpGIXo34W2kYeBO4kPS7WT1VagjDQ15O8TBY3ikQmFt6aeh719OOVMBUKS+fF0z7WTPtHZ0KRyx/0Cp+Ss/4Bu/znlCmu0pTKpCa3snNEDaGGgfbjV/vc4G/Dup4ld3gy3MSgaXG1MtvS40oOhccKQ94zL6xggsKt2tfFeX2BvFbK5AikkbVqMOG0ge/d/yD9onronK8hafkmPhqSVtNuFGggG17qN9Crv744SMq1uZm83AnBbDgQjX1AkSyLBbTdMzK8ynY9kpQgh0wEFabgEHj+iGSFffT55JiBGEElPL+FMQi0AM79HF6mif3Y6a4wR1ZhT0inVtQ1/AHdLH7bMR0okbgxWZ7S5MjPjxsauWrjWpOhDTVn4qpYQjqp2ySD8vSxF/J+0vsclQQYoQC8yMVEZ6hTsC1b0U/nG9VNZUGYgiLI3HsUyeITu5BDMDZ66xLVnsS4vNGEPTKvqWeqamFk23SFf7hjE7ILBg+/Z9VFCLpBQZiEwSFkZBnhSpaSpKi6bq9bZLKJTnWc9/uIBtgaM+2ZlyPzYCanwJo1a5Z/DU/wL/LA8uAvkma8vGsUWTEsh3hBprtlKLRl96hF1K+ZtDkxRxA+dWg22Zl07Y7DPzqvBudNFjreW4ZSmGDaKk+w3cs+3OGdoTOJ+iJpmRSP/B5QVDd7GsP8xYoppIEk8jpyvxYDHPejDF33jlwr+RcRRaZrqCRIytkGBJOoxqtK5XIcpoj8MH2bebQCH6wmI0MqCKNkyI1n3gBjsvyrRo7gQiiC5s9ANAejvDrywu1X/qWx1fPH7BYNMAZmZo5NIiA9iksOuttGo+MNLBkJEy8zymvD00+ULaTyUrtdhoiWmmUS6R3LsdLWEI8cypROBckPB8XGiM1DSQyuiG466Z0FLMb9simyNf1ptpXt8TzUuXeZ+n8N0Q/p56ZzUT189Ua+x++L071YZo1tiDVUUtiso6Q63ZxTL559tqqJnWzuTpm9psaLlY6L6Gdkr7bNUMpg5UWAp9Z1jsCnP1p9z0v1L2//xNxE9HE+UhS2bewtkiCAoyvJGBNLjG1txPMmBQkmMIHqvSj/Ea0Tl+IJvdaSJCWUocRqDI7hu2kGX1pH75SrZKsg9GlBLvDc7D/fHrao+EJ28OByXxplK0ZGAFXOZzunG1lQFWR8y9bzKNEcrlptqtisDi59WNXVkMW/DfdMscg3CEGDZPL392eb07+41oYIh9ckNyDAyUQ5U+OMxkMoOEJPErZf+kWNTO15LQRbidZnOGWuXJc85LJSjVYZS+qaHrLbt2k9aIyXDpCNRu2zVH/1+Oy87vZeXv1Xsz3P1WLZRz+qCIELM3QTV/2mkUHgFxIa/w6szbHFCkOeXYz2hhY5gDBD+TJV2scwded2a50ztSbehazu1uGozPpdROF7X5ZJvYxvmvI07Ofe3TLHTaLkDoDiBReuW2JUlGxbywBeVDfEdMgAsbzmRPbadOZA59OYTyf18zlR9lb06FDa2VROpfbVESeGnjyNHFB/GCzh6Jrt9whQ4cVvW6PB2lSoGZY575fMifkbN8+J/MCfoRrKZoV4WS3lHId0vcVQmnvJcUcW5P3KG6dHdFUNXFc3A7Vxl6JBFiLYCvrohmg5Ij3hRmyqTixbG8KoWkfYxJNka+2SdyJ/UnmM3FF8CLDI2aizbOLqwksp09R51ClKMVA7DX/XDf7VtTG4VL0S4mBOzSmjk8j33q0vm4fbUPCtB+14k8wmTCLTxk8FdSOvmij0cXtknpThXKI8BXmgB0W8rLcRHssRAXRyfITkQ=="/>
  <p:tag name="MEKKOXMLTAGS" val="1"/>
</p:tagLst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cmpd="tri">
          <a:solidFill>
            <a:schemeClr val="tx1"/>
          </a:solidFill>
          <a:headEnd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779</TotalTime>
  <Pages>5</Pages>
  <Words>298</Words>
  <Characters>0</Characters>
  <Application>Microsoft Office PowerPoint</Application>
  <DocSecurity>0</DocSecurity>
  <PresentationFormat>On-screen Show (4:3)</PresentationFormat>
  <Lines>0</Lines>
  <Paragraphs>34</Paragraphs>
  <Slides>7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Verdana</vt:lpstr>
      <vt:lpstr>Presentation3</vt:lpstr>
      <vt:lpstr>General Manager’s Remarks</vt:lpstr>
      <vt:lpstr>Agenda </vt:lpstr>
      <vt:lpstr>FY18 YTD Total Spending (accrued basis)</vt:lpstr>
      <vt:lpstr>Commitments: MBTA Capital Program contract awards more than doubled in the past year</vt:lpstr>
      <vt:lpstr>DRAFT FY19-FY23 MBTA Capital Investment Plan calls for ~$8B in capital spending over the next 5 years</vt:lpstr>
      <vt:lpstr>DRAFT FY19-FY23 CIP Funding Sources</vt:lpstr>
      <vt:lpstr>Capital investments pipeline</vt:lpstr>
    </vt:vector>
  </TitlesOfParts>
  <LinksUpToDate>false</LinksUpToDate>
  <CharactersWithSpaces>0</CharactersWithSpaces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TD Capital spending has been lower than expected due to delays in GLX and Other projects</dc:title>
  <dc:creator>srashin</dc:creator>
  <cp:lastModifiedBy>Ciampa, Christine</cp:lastModifiedBy>
  <cp:revision>728</cp:revision>
  <cp:lastPrinted>2018-05-11T17:22:08Z</cp:lastPrinted>
  <dcterms:modified xsi:type="dcterms:W3CDTF">2018-05-14T14:51:30Z</dcterms:modified>
</cp:coreProperties>
</file>

<file path=docProps/infrawarePen.xml><?xml version="1.0" encoding="utf-8"?>
<InfrawarePenDraw xmlns="http://www.infraware.co.kr/2012/penmode"/>
</file>